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1253" r:id="rId5"/>
    <p:sldId id="1254" r:id="rId6"/>
    <p:sldId id="1255" r:id="rId7"/>
    <p:sldId id="4050" r:id="rId8"/>
    <p:sldId id="1261" r:id="rId9"/>
    <p:sldId id="4096" r:id="rId10"/>
    <p:sldId id="4080" r:id="rId11"/>
    <p:sldId id="4076" r:id="rId12"/>
    <p:sldId id="4097" r:id="rId13"/>
    <p:sldId id="4081" r:id="rId14"/>
    <p:sldId id="4095" r:id="rId15"/>
    <p:sldId id="4086" r:id="rId16"/>
    <p:sldId id="4087" r:id="rId17"/>
    <p:sldId id="4089" r:id="rId18"/>
    <p:sldId id="4091" r:id="rId19"/>
    <p:sldId id="4093" r:id="rId20"/>
    <p:sldId id="1142" r:id="rId21"/>
  </p:sldIdLst>
  <p:sldSz cx="12192000" cy="6858000"/>
  <p:notesSz cx="6858000" cy="9144000"/>
  <p:custDataLst>
    <p:tags r:id="rId24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912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7174" userDrawn="1">
          <p15:clr>
            <a:srgbClr val="A4A3A4"/>
          </p15:clr>
        </p15:guide>
        <p15:guide id="5" orient="horz" pos="527" userDrawn="1">
          <p15:clr>
            <a:srgbClr val="A4A3A4"/>
          </p15:clr>
        </p15:guide>
        <p15:guide id="14" orient="horz" pos="4320" userDrawn="1">
          <p15:clr>
            <a:srgbClr val="A4A3A4"/>
          </p15:clr>
        </p15:guide>
        <p15:guide id="15" orient="horz" pos="1616" userDrawn="1">
          <p15:clr>
            <a:srgbClr val="A4A3A4"/>
          </p15:clr>
        </p15:guide>
        <p15:guide id="16" orient="horz" pos="2546" userDrawn="1">
          <p15:clr>
            <a:srgbClr val="A4A3A4"/>
          </p15:clr>
        </p15:guide>
        <p15:guide id="17" orient="horz" pos="1139" userDrawn="1">
          <p15:clr>
            <a:srgbClr val="A4A3A4"/>
          </p15:clr>
        </p15:guide>
        <p15:guide id="18" orient="horz" pos="4292" userDrawn="1">
          <p15:clr>
            <a:srgbClr val="A4A3A4"/>
          </p15:clr>
        </p15:guide>
        <p15:guide id="19" pos="3409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orient="horz" pos="4088" userDrawn="1">
          <p15:clr>
            <a:srgbClr val="A4A3A4"/>
          </p15:clr>
        </p15:guide>
        <p15:guide id="23" orient="horz" pos="1321" userDrawn="1">
          <p15:clr>
            <a:srgbClr val="A4A3A4"/>
          </p15:clr>
        </p15:guide>
        <p15:guide id="26" pos="59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30039A0-5C24-D0DF-15F8-4F778BBC51D4}" name="Herrero Rodriguez, Jaime" initials="HJ" userId="S::jherrerorodriguez@deloitte.es::f4d5e8ec-f178-4992-9303-bbe56d9c704b" providerId="AD"/>
  <p188:author id="{E1E581A8-9BF2-7C9F-6456-BDD28B03F51F}" name="Ulloa Delgado, Miguel" initials="UM" userId="S::mulloadelgado@deloitte.es::5d336f66-23c6-426c-8230-71b0a88b29f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Tort, Alex" initials="TA" lastIdx="1" clrIdx="6">
    <p:extLst>
      <p:ext uri="{19B8F6BF-5375-455C-9EA6-DF929625EA0E}">
        <p15:presenceInfo xmlns:p15="http://schemas.microsoft.com/office/powerpoint/2012/main" userId="S::atort@deloitte.es::952fcb33-1999-422c-a11c-36784f6319ae" providerId="AD"/>
      </p:ext>
    </p:extLst>
  </p:cmAuthor>
  <p:cmAuthor id="1" name="Sustacha Concha, Beatriz" initials="SCB" lastIdx="1" clrIdx="0">
    <p:extLst>
      <p:ext uri="{19B8F6BF-5375-455C-9EA6-DF929625EA0E}">
        <p15:presenceInfo xmlns:p15="http://schemas.microsoft.com/office/powerpoint/2012/main" userId="Sustacha Concha, Beatriz" providerId="None"/>
      </p:ext>
    </p:extLst>
  </p:cmAuthor>
  <p:cmAuthor id="8" name="Gonzalez Torres, Serezade Tedauit" initials="GTST" lastIdx="1" clrIdx="7">
    <p:extLst>
      <p:ext uri="{19B8F6BF-5375-455C-9EA6-DF929625EA0E}">
        <p15:presenceInfo xmlns:p15="http://schemas.microsoft.com/office/powerpoint/2012/main" userId="S::sgonzaleztorres@deloitte.es::ab5c790b-3161-426a-9f5d-7f2857a33668" providerId="AD"/>
      </p:ext>
    </p:extLst>
  </p:cmAuthor>
  <p:cmAuthor id="2" name="Crespo, Braulio (ES - Madrid)" initials="CB(-M" lastIdx="75" clrIdx="1">
    <p:extLst>
      <p:ext uri="{19B8F6BF-5375-455C-9EA6-DF929625EA0E}">
        <p15:presenceInfo xmlns:p15="http://schemas.microsoft.com/office/powerpoint/2012/main" userId="S-1-5-21-1360027930-287706034-837300805-51520" providerId="AD"/>
      </p:ext>
    </p:extLst>
  </p:cmAuthor>
  <p:cmAuthor id="9" name="Ulloa Delgado, Miguel" initials="UDM" lastIdx="1" clrIdx="8">
    <p:extLst>
      <p:ext uri="{19B8F6BF-5375-455C-9EA6-DF929625EA0E}">
        <p15:presenceInfo xmlns:p15="http://schemas.microsoft.com/office/powerpoint/2012/main" userId="S::mulloadelgado@deloitte.es::5d336f66-23c6-426c-8230-71b0a88b29f2" providerId="AD"/>
      </p:ext>
    </p:extLst>
  </p:cmAuthor>
  <p:cmAuthor id="3" name="Caballero Garcia, Blanca" initials="CGB" lastIdx="1" clrIdx="2">
    <p:extLst>
      <p:ext uri="{19B8F6BF-5375-455C-9EA6-DF929625EA0E}">
        <p15:presenceInfo xmlns:p15="http://schemas.microsoft.com/office/powerpoint/2012/main" userId="S-1-5-21-1360027930-287706034-837300805-158022" providerId="AD"/>
      </p:ext>
    </p:extLst>
  </p:cmAuthor>
  <p:cmAuthor id="4" name="Dasi, Carlos" initials="DC" lastIdx="3" clrIdx="3">
    <p:extLst>
      <p:ext uri="{19B8F6BF-5375-455C-9EA6-DF929625EA0E}">
        <p15:presenceInfo xmlns:p15="http://schemas.microsoft.com/office/powerpoint/2012/main" userId="S-1-5-21-1360027930-287706034-837300805-171462" providerId="AD"/>
      </p:ext>
    </p:extLst>
  </p:cmAuthor>
  <p:cmAuthor id="5" name="Dasi, Carlos" initials="DC [2]" lastIdx="32" clrIdx="4">
    <p:extLst>
      <p:ext uri="{19B8F6BF-5375-455C-9EA6-DF929625EA0E}">
        <p15:presenceInfo xmlns:p15="http://schemas.microsoft.com/office/powerpoint/2012/main" userId="S::cdasi@deloitte.es::62dbdaee-7bfa-4489-9a9a-7576b6991a31" providerId="AD"/>
      </p:ext>
    </p:extLst>
  </p:cmAuthor>
  <p:cmAuthor id="6" name="Crespo, Braulio" initials="CB" lastIdx="56" clrIdx="5">
    <p:extLst>
      <p:ext uri="{19B8F6BF-5375-455C-9EA6-DF929625EA0E}">
        <p15:presenceInfo xmlns:p15="http://schemas.microsoft.com/office/powerpoint/2012/main" userId="S::brcrespo@deloitte.es::77aa4aca-d587-4223-8d58-c82310a171a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00099"/>
    <a:srgbClr val="0070C0"/>
    <a:srgbClr val="FFC000"/>
    <a:srgbClr val="7F7F7F"/>
    <a:srgbClr val="FF0000"/>
    <a:srgbClr val="E5AB00"/>
    <a:srgbClr val="86BC25"/>
    <a:srgbClr val="679438"/>
    <a:srgbClr val="4646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3D0CE39-7022-48E9-A2B7-B2BC1ADF7EA1}" v="605" dt="2022-09-29T08:18:40.400"/>
    <p1510:client id="{EF2D5864-1AF9-4067-88CA-A9AD34EDA4F5}" v="35" dt="2022-09-29T08:08:43.9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1912"/>
        <p:guide pos="551"/>
        <p:guide pos="7174"/>
        <p:guide orient="horz" pos="527"/>
        <p:guide orient="horz" pos="4320"/>
        <p:guide orient="horz" pos="1616"/>
        <p:guide orient="horz" pos="2546"/>
        <p:guide orient="horz" pos="1139"/>
        <p:guide orient="horz" pos="4292"/>
        <p:guide pos="3409"/>
        <p:guide pos="3795"/>
        <p:guide orient="horz" pos="4088"/>
        <p:guide orient="horz" pos="1321"/>
        <p:guide pos="5904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32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Ulloa Delgado Miguel" userId="S::x856225@gruposantander.com::9b4872b1-8788-4bcd-b49c-44f83be62f9b" providerId="AD" clId="Web-{EF2D5864-1AF9-4067-88CA-A9AD34EDA4F5}"/>
    <pc:docChg chg="modSld">
      <pc:chgData name="Ulloa Delgado Miguel" userId="S::x856225@gruposantander.com::9b4872b1-8788-4bcd-b49c-44f83be62f9b" providerId="AD" clId="Web-{EF2D5864-1AF9-4067-88CA-A9AD34EDA4F5}" dt="2022-09-29T08:08:36.530" v="3"/>
      <pc:docMkLst>
        <pc:docMk/>
      </pc:docMkLst>
      <pc:sldChg chg="modSp">
        <pc:chgData name="Ulloa Delgado Miguel" userId="S::x856225@gruposantander.com::9b4872b1-8788-4bcd-b49c-44f83be62f9b" providerId="AD" clId="Web-{EF2D5864-1AF9-4067-88CA-A9AD34EDA4F5}" dt="2022-09-29T08:08:36.530" v="3"/>
        <pc:sldMkLst>
          <pc:docMk/>
          <pc:sldMk cId="2155525977" sldId="4081"/>
        </pc:sldMkLst>
        <pc:graphicFrameChg chg="mod modGraphic">
          <ac:chgData name="Ulloa Delgado Miguel" userId="S::x856225@gruposantander.com::9b4872b1-8788-4bcd-b49c-44f83be62f9b" providerId="AD" clId="Web-{EF2D5864-1AF9-4067-88CA-A9AD34EDA4F5}" dt="2022-09-29T08:08:36.530" v="3"/>
          <ac:graphicFrameMkLst>
            <pc:docMk/>
            <pc:sldMk cId="2155525977" sldId="4081"/>
            <ac:graphicFrameMk id="27" creationId="{4925858F-47A8-45A9-8EA2-A71DE79FD0AE}"/>
          </ac:graphicFrameMkLst>
        </pc:graphicFrameChg>
      </pc:sldChg>
    </pc:docChg>
  </pc:docChgLst>
  <pc:docChgLst>
    <pc:chgData name="Ulloa Delgado Miguel" userId="S::x856225@gruposantander.com::9b4872b1-8788-4bcd-b49c-44f83be62f9b" providerId="AD" clId="Web-{C3D0CE39-7022-48E9-A2B7-B2BC1ADF7EA1}"/>
    <pc:docChg chg="modSld">
      <pc:chgData name="Ulloa Delgado Miguel" userId="S::x856225@gruposantander.com::9b4872b1-8788-4bcd-b49c-44f83be62f9b" providerId="AD" clId="Web-{C3D0CE39-7022-48E9-A2B7-B2BC1ADF7EA1}" dt="2022-09-29T08:18:38.274" v="519"/>
      <pc:docMkLst>
        <pc:docMk/>
      </pc:docMkLst>
      <pc:sldChg chg="modSp">
        <pc:chgData name="Ulloa Delgado Miguel" userId="S::x856225@gruposantander.com::9b4872b1-8788-4bcd-b49c-44f83be62f9b" providerId="AD" clId="Web-{C3D0CE39-7022-48E9-A2B7-B2BC1ADF7EA1}" dt="2022-09-29T08:18:38.274" v="519"/>
        <pc:sldMkLst>
          <pc:docMk/>
          <pc:sldMk cId="2155525977" sldId="4081"/>
        </pc:sldMkLst>
        <pc:graphicFrameChg chg="mod modGraphic">
          <ac:chgData name="Ulloa Delgado Miguel" userId="S::x856225@gruposantander.com::9b4872b1-8788-4bcd-b49c-44f83be62f9b" providerId="AD" clId="Web-{C3D0CE39-7022-48E9-A2B7-B2BC1ADF7EA1}" dt="2022-09-29T08:18:38.274" v="519"/>
          <ac:graphicFrameMkLst>
            <pc:docMk/>
            <pc:sldMk cId="2155525977" sldId="4081"/>
            <ac:graphicFrameMk id="27" creationId="{4925858F-47A8-45A9-8EA2-A71DE79FD0AE}"/>
          </ac:graphicFrameMkLst>
        </pc:graphicFrameChg>
      </pc:sldChg>
      <pc:sldChg chg="modSp">
        <pc:chgData name="Ulloa Delgado Miguel" userId="S::x856225@gruposantander.com::9b4872b1-8788-4bcd-b49c-44f83be62f9b" providerId="AD" clId="Web-{C3D0CE39-7022-48E9-A2B7-B2BC1ADF7EA1}" dt="2022-09-29T08:15:57.895" v="439"/>
        <pc:sldMkLst>
          <pc:docMk/>
          <pc:sldMk cId="929505652" sldId="4087"/>
        </pc:sldMkLst>
        <pc:graphicFrameChg chg="mod modGraphic">
          <ac:chgData name="Ulloa Delgado Miguel" userId="S::x856225@gruposantander.com::9b4872b1-8788-4bcd-b49c-44f83be62f9b" providerId="AD" clId="Web-{C3D0CE39-7022-48E9-A2B7-B2BC1ADF7EA1}" dt="2022-09-29T08:15:57.895" v="439"/>
          <ac:graphicFrameMkLst>
            <pc:docMk/>
            <pc:sldMk cId="929505652" sldId="4087"/>
            <ac:graphicFrameMk id="7" creationId="{32906022-4698-44F1-AC4E-A5A0CC39F613}"/>
          </ac:graphicFrameMkLst>
        </pc:graphicFrameChg>
      </pc:sldChg>
      <pc:sldChg chg="modSp">
        <pc:chgData name="Ulloa Delgado Miguel" userId="S::x856225@gruposantander.com::9b4872b1-8788-4bcd-b49c-44f83be62f9b" providerId="AD" clId="Web-{C3D0CE39-7022-48E9-A2B7-B2BC1ADF7EA1}" dt="2022-09-29T08:13:48.984" v="179"/>
        <pc:sldMkLst>
          <pc:docMk/>
          <pc:sldMk cId="732533963" sldId="4091"/>
        </pc:sldMkLst>
        <pc:graphicFrameChg chg="mod modGraphic">
          <ac:chgData name="Ulloa Delgado Miguel" userId="S::x856225@gruposantander.com::9b4872b1-8788-4bcd-b49c-44f83be62f9b" providerId="AD" clId="Web-{C3D0CE39-7022-48E9-A2B7-B2BC1ADF7EA1}" dt="2022-09-29T08:13:48.984" v="179"/>
          <ac:graphicFrameMkLst>
            <pc:docMk/>
            <pc:sldMk cId="732533963" sldId="4091"/>
            <ac:graphicFrameMk id="27" creationId="{E346533A-D3AF-4813-B21D-B14F8369E1FC}"/>
          </ac:graphicFrameMkLst>
        </pc:graphicFrameChg>
      </pc:sldChg>
    </pc:docChg>
  </pc:docChgLst>
  <pc:docChgLst>
    <pc:chgData name="González Torres Serezade Tedauit" userId="258e5489-ec3c-4fb4-914e-30ae663448da" providerId="ADAL" clId="{E8E5926F-0A25-4999-9208-436060F44723}"/>
    <pc:docChg chg="undo custSel modSld">
      <pc:chgData name="González Torres Serezade Tedauit" userId="258e5489-ec3c-4fb4-914e-30ae663448da" providerId="ADAL" clId="{E8E5926F-0A25-4999-9208-436060F44723}" dt="2022-09-29T08:02:04.324" v="191" actId="207"/>
      <pc:docMkLst>
        <pc:docMk/>
      </pc:docMkLst>
      <pc:sldChg chg="modSp mod">
        <pc:chgData name="González Torres Serezade Tedauit" userId="258e5489-ec3c-4fb4-914e-30ae663448da" providerId="ADAL" clId="{E8E5926F-0A25-4999-9208-436060F44723}" dt="2022-09-29T07:35:53.536" v="34" actId="20577"/>
        <pc:sldMkLst>
          <pc:docMk/>
          <pc:sldMk cId="3720849052" sldId="4080"/>
        </pc:sldMkLst>
        <pc:graphicFrameChg chg="mod modGraphic">
          <ac:chgData name="González Torres Serezade Tedauit" userId="258e5489-ec3c-4fb4-914e-30ae663448da" providerId="ADAL" clId="{E8E5926F-0A25-4999-9208-436060F44723}" dt="2022-09-29T07:35:53.536" v="34" actId="20577"/>
          <ac:graphicFrameMkLst>
            <pc:docMk/>
            <pc:sldMk cId="3720849052" sldId="4080"/>
            <ac:graphicFrameMk id="27" creationId="{E346533A-D3AF-4813-B21D-B14F8369E1FC}"/>
          </ac:graphicFrameMkLst>
        </pc:graphicFrameChg>
      </pc:sldChg>
      <pc:sldChg chg="modSp mod">
        <pc:chgData name="González Torres Serezade Tedauit" userId="258e5489-ec3c-4fb4-914e-30ae663448da" providerId="ADAL" clId="{E8E5926F-0A25-4999-9208-436060F44723}" dt="2022-09-29T07:38:19.988" v="83" actId="20577"/>
        <pc:sldMkLst>
          <pc:docMk/>
          <pc:sldMk cId="2155525977" sldId="4081"/>
        </pc:sldMkLst>
        <pc:graphicFrameChg chg="mod modGraphic">
          <ac:chgData name="González Torres Serezade Tedauit" userId="258e5489-ec3c-4fb4-914e-30ae663448da" providerId="ADAL" clId="{E8E5926F-0A25-4999-9208-436060F44723}" dt="2022-09-29T07:38:19.988" v="83" actId="20577"/>
          <ac:graphicFrameMkLst>
            <pc:docMk/>
            <pc:sldMk cId="2155525977" sldId="4081"/>
            <ac:graphicFrameMk id="27" creationId="{4925858F-47A8-45A9-8EA2-A71DE79FD0AE}"/>
          </ac:graphicFrameMkLst>
        </pc:graphicFrameChg>
      </pc:sldChg>
      <pc:sldChg chg="modSp mod">
        <pc:chgData name="González Torres Serezade Tedauit" userId="258e5489-ec3c-4fb4-914e-30ae663448da" providerId="ADAL" clId="{E8E5926F-0A25-4999-9208-436060F44723}" dt="2022-09-29T08:02:04.324" v="191" actId="207"/>
        <pc:sldMkLst>
          <pc:docMk/>
          <pc:sldMk cId="3078096516" sldId="4086"/>
        </pc:sldMkLst>
        <pc:graphicFrameChg chg="mod modGraphic">
          <ac:chgData name="González Torres Serezade Tedauit" userId="258e5489-ec3c-4fb4-914e-30ae663448da" providerId="ADAL" clId="{E8E5926F-0A25-4999-9208-436060F44723}" dt="2022-09-29T08:02:04.324" v="191" actId="207"/>
          <ac:graphicFrameMkLst>
            <pc:docMk/>
            <pc:sldMk cId="3078096516" sldId="4086"/>
            <ac:graphicFrameMk id="7" creationId="{32906022-4698-44F1-AC4E-A5A0CC39F613}"/>
          </ac:graphicFrameMkLst>
        </pc:graphicFrameChg>
      </pc:sldChg>
      <pc:sldChg chg="modSp mod">
        <pc:chgData name="González Torres Serezade Tedauit" userId="258e5489-ec3c-4fb4-914e-30ae663448da" providerId="ADAL" clId="{E8E5926F-0A25-4999-9208-436060F44723}" dt="2022-09-29T08:01:06.939" v="184" actId="13926"/>
        <pc:sldMkLst>
          <pc:docMk/>
          <pc:sldMk cId="929505652" sldId="4087"/>
        </pc:sldMkLst>
        <pc:graphicFrameChg chg="mod modGraphic">
          <ac:chgData name="González Torres Serezade Tedauit" userId="258e5489-ec3c-4fb4-914e-30ae663448da" providerId="ADAL" clId="{E8E5926F-0A25-4999-9208-436060F44723}" dt="2022-09-29T08:01:06.939" v="184" actId="13926"/>
          <ac:graphicFrameMkLst>
            <pc:docMk/>
            <pc:sldMk cId="929505652" sldId="4087"/>
            <ac:graphicFrameMk id="7" creationId="{32906022-4698-44F1-AC4E-A5A0CC39F613}"/>
          </ac:graphicFrameMkLst>
        </pc:graphicFrameChg>
      </pc:sldChg>
      <pc:sldChg chg="modSp mod">
        <pc:chgData name="González Torres Serezade Tedauit" userId="258e5489-ec3c-4fb4-914e-30ae663448da" providerId="ADAL" clId="{E8E5926F-0A25-4999-9208-436060F44723}" dt="2022-09-29T08:01:16.144" v="185" actId="20577"/>
        <pc:sldMkLst>
          <pc:docMk/>
          <pc:sldMk cId="925183760" sldId="4089"/>
        </pc:sldMkLst>
        <pc:graphicFrameChg chg="modGraphic">
          <ac:chgData name="González Torres Serezade Tedauit" userId="258e5489-ec3c-4fb4-914e-30ae663448da" providerId="ADAL" clId="{E8E5926F-0A25-4999-9208-436060F44723}" dt="2022-09-29T08:01:16.144" v="185" actId="20577"/>
          <ac:graphicFrameMkLst>
            <pc:docMk/>
            <pc:sldMk cId="925183760" sldId="4089"/>
            <ac:graphicFrameMk id="22" creationId="{23F73000-21E7-40C1-B319-E448D9CE3509}"/>
          </ac:graphicFrameMkLst>
        </pc:graphicFrameChg>
      </pc:sldChg>
      <pc:sldChg chg="modSp mod">
        <pc:chgData name="González Torres Serezade Tedauit" userId="258e5489-ec3c-4fb4-914e-30ae663448da" providerId="ADAL" clId="{E8E5926F-0A25-4999-9208-436060F44723}" dt="2022-09-29T07:59:42.652" v="149"/>
        <pc:sldMkLst>
          <pc:docMk/>
          <pc:sldMk cId="2386097509" sldId="4095"/>
        </pc:sldMkLst>
        <pc:graphicFrameChg chg="mod modGraphic">
          <ac:chgData name="González Torres Serezade Tedauit" userId="258e5489-ec3c-4fb4-914e-30ae663448da" providerId="ADAL" clId="{E8E5926F-0A25-4999-9208-436060F44723}" dt="2022-09-29T07:59:42.652" v="149"/>
          <ac:graphicFrameMkLst>
            <pc:docMk/>
            <pc:sldMk cId="2386097509" sldId="4095"/>
            <ac:graphicFrameMk id="7" creationId="{32906022-4698-44F1-AC4E-A5A0CC39F613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60B1AF7E-5BC2-4D30-87FE-E1B659CA154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1D35212-2950-4BB8-B0AA-EE773689934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A5188B-02CB-4126-A12E-C27940239E67}" type="datetimeFigureOut">
              <a:rPr lang="es-ES" smtClean="0"/>
              <a:t>29/09/2022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6FAF009-7545-4A39-A198-6416D3420CD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B8A1D82-08B5-4B1F-860C-695167F2EE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54CB31-C4D0-4176-AC65-C48107E42122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268674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81D6FC-8B18-4D83-81FA-5ECA9E5C1AAF}" type="datetimeFigureOut">
              <a:rPr lang="es-ES" smtClean="0"/>
              <a:t>29/09/2022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78D618-BBD3-4FF5-9218-0E9FEB4B2F82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463157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CF9397-9FC7-4CAA-9342-B81D5D9ADF50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559945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78D618-BBD3-4FF5-9218-0E9FEB4B2F82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411411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78D618-BBD3-4FF5-9218-0E9FEB4B2F82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62542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78D618-BBD3-4FF5-9218-0E9FEB4B2F82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60755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78D618-BBD3-4FF5-9218-0E9FEB4B2F82}" type="slidenum">
              <a:rPr lang="es-ES" smtClean="0"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380738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78D618-BBD3-4FF5-9218-0E9FEB4B2F82}" type="slidenum">
              <a:rPr lang="es-ES" smtClean="0"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21294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78D618-BBD3-4FF5-9218-0E9FEB4B2F82}" type="slidenum">
              <a:rPr lang="es-ES" smtClean="0"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093076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78D618-BBD3-4FF5-9218-0E9FEB4B2F82}" type="slidenum">
              <a:rPr lang="es-ES" smtClean="0"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975212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78D618-BBD3-4FF5-9218-0E9FEB4B2F82}" type="slidenum">
              <a:rPr lang="es-ES" smtClean="0"/>
              <a:t>1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591951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C8B514A2-D5F1-4295-9947-805B7C2958A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>
              <a:solidFill>
                <a:schemeClr val="bg1"/>
              </a:solidFill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2F305A9-DE4B-49AF-BCD4-43A65F7EB5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1745" y="1096485"/>
            <a:ext cx="4937184" cy="1407004"/>
          </a:xfrm>
        </p:spPr>
        <p:txBody>
          <a:bodyPr anchor="t">
            <a:normAutofit/>
          </a:bodyPr>
          <a:lstStyle>
            <a:lvl1pPr algn="l">
              <a:lnSpc>
                <a:spcPct val="90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s-ES"/>
              <a:t>título </a:t>
            </a:r>
            <a:br>
              <a:rPr lang="es-ES"/>
            </a:br>
            <a:r>
              <a:rPr lang="es-ES"/>
              <a:t>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AB17398-CAA7-49B6-868C-44D053E7EAC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4620" y="2722142"/>
            <a:ext cx="4934309" cy="243645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Esto clic para modificar el estilo de subtítulo del patrón</a:t>
            </a: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9012236B-6821-499F-B6D4-F11EC0EF0C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1978" y="5727401"/>
            <a:ext cx="1896592" cy="332588"/>
          </a:xfrm>
          <a:prstGeom prst="rect">
            <a:avLst/>
          </a:prstGeom>
        </p:spPr>
      </p:pic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F5E5F18D-70E6-495C-A384-2EDAE00309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9650" y="333651"/>
            <a:ext cx="11177550" cy="4191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bg1"/>
                </a:solidFill>
              </a:defRPr>
            </a:lvl1pPr>
            <a:lvl2pPr marL="457200" indent="0">
              <a:buNone/>
              <a:defRPr sz="1300">
                <a:solidFill>
                  <a:schemeClr val="tx2"/>
                </a:solidFill>
              </a:defRPr>
            </a:lvl2pPr>
            <a:lvl3pPr marL="914400" indent="0">
              <a:buNone/>
              <a:defRPr sz="1300">
                <a:solidFill>
                  <a:schemeClr val="tx2"/>
                </a:solidFill>
              </a:defRPr>
            </a:lvl3pPr>
            <a:lvl4pPr marL="1371600" indent="0">
              <a:buNone/>
              <a:defRPr sz="1300">
                <a:solidFill>
                  <a:schemeClr val="tx2"/>
                </a:solidFill>
              </a:defRPr>
            </a:lvl4pPr>
            <a:lvl5pPr marL="1828800" indent="0"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8" name="Forma libre: forma 7">
            <a:extLst>
              <a:ext uri="{FF2B5EF4-FFF2-40B4-BE49-F238E27FC236}">
                <a16:creationId xmlns:a16="http://schemas.microsoft.com/office/drawing/2014/main" id="{86912023-AE0D-4548-9487-75E047750798}"/>
              </a:ext>
            </a:extLst>
          </p:cNvPr>
          <p:cNvSpPr/>
          <p:nvPr userDrawn="1"/>
        </p:nvSpPr>
        <p:spPr>
          <a:xfrm>
            <a:off x="0" y="5229922"/>
            <a:ext cx="12196689" cy="1628078"/>
          </a:xfrm>
          <a:custGeom>
            <a:avLst/>
            <a:gdLst>
              <a:gd name="connsiteX0" fmla="*/ 8932985 w 12196689"/>
              <a:gd name="connsiteY0" fmla="*/ 0 h 1628078"/>
              <a:gd name="connsiteX1" fmla="*/ 12196689 w 12196689"/>
              <a:gd name="connsiteY1" fmla="*/ 0 h 1628078"/>
              <a:gd name="connsiteX2" fmla="*/ 12196689 w 12196689"/>
              <a:gd name="connsiteY2" fmla="*/ 1628078 h 1628078"/>
              <a:gd name="connsiteX3" fmla="*/ 0 w 12196689"/>
              <a:gd name="connsiteY3" fmla="*/ 1628078 h 1628078"/>
              <a:gd name="connsiteX4" fmla="*/ 0 w 12196689"/>
              <a:gd name="connsiteY4" fmla="*/ 1213081 h 1628078"/>
              <a:gd name="connsiteX5" fmla="*/ 8932985 w 12196689"/>
              <a:gd name="connsiteY5" fmla="*/ 1213081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6689" h="1628078">
                <a:moveTo>
                  <a:pt x="8932985" y="0"/>
                </a:moveTo>
                <a:lnTo>
                  <a:pt x="12196689" y="0"/>
                </a:lnTo>
                <a:lnTo>
                  <a:pt x="12196689" y="1628078"/>
                </a:lnTo>
                <a:lnTo>
                  <a:pt x="0" y="1628078"/>
                </a:lnTo>
                <a:lnTo>
                  <a:pt x="0" y="1213081"/>
                </a:lnTo>
                <a:lnTo>
                  <a:pt x="8932985" y="121308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258094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y conta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rma libre: forma 18">
            <a:extLst>
              <a:ext uri="{FF2B5EF4-FFF2-40B4-BE49-F238E27FC236}">
                <a16:creationId xmlns:a16="http://schemas.microsoft.com/office/drawing/2014/main" id="{B61CF4CC-ED27-4967-A11A-B838DFD4D9A3}"/>
              </a:ext>
            </a:extLst>
          </p:cNvPr>
          <p:cNvSpPr/>
          <p:nvPr userDrawn="1"/>
        </p:nvSpPr>
        <p:spPr>
          <a:xfrm>
            <a:off x="0" y="5229922"/>
            <a:ext cx="12192000" cy="1628078"/>
          </a:xfrm>
          <a:custGeom>
            <a:avLst/>
            <a:gdLst>
              <a:gd name="connsiteX0" fmla="*/ 8943278 w 12192000"/>
              <a:gd name="connsiteY0" fmla="*/ 0 h 1628078"/>
              <a:gd name="connsiteX1" fmla="*/ 12192000 w 12192000"/>
              <a:gd name="connsiteY1" fmla="*/ 0 h 1628078"/>
              <a:gd name="connsiteX2" fmla="*/ 12192000 w 12192000"/>
              <a:gd name="connsiteY2" fmla="*/ 1628078 h 1628078"/>
              <a:gd name="connsiteX3" fmla="*/ 0 w 12192000"/>
              <a:gd name="connsiteY3" fmla="*/ 1628078 h 1628078"/>
              <a:gd name="connsiteX4" fmla="*/ 0 w 12192000"/>
              <a:gd name="connsiteY4" fmla="*/ 1226634 h 1628078"/>
              <a:gd name="connsiteX5" fmla="*/ 8943278 w 12192000"/>
              <a:gd name="connsiteY5" fmla="*/ 1226634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628078">
                <a:moveTo>
                  <a:pt x="8943278" y="0"/>
                </a:moveTo>
                <a:lnTo>
                  <a:pt x="12192000" y="0"/>
                </a:lnTo>
                <a:lnTo>
                  <a:pt x="12192000" y="1628078"/>
                </a:lnTo>
                <a:lnTo>
                  <a:pt x="0" y="1628078"/>
                </a:lnTo>
                <a:lnTo>
                  <a:pt x="0" y="1226634"/>
                </a:lnTo>
                <a:lnTo>
                  <a:pt x="8943278" y="1226634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67F54544-030A-41BD-9896-574241C718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1978" y="5727401"/>
            <a:ext cx="1896592" cy="332588"/>
          </a:xfrm>
          <a:prstGeom prst="rect">
            <a:avLst/>
          </a:prstGeom>
        </p:spPr>
      </p:pic>
      <p:pic>
        <p:nvPicPr>
          <p:cNvPr id="1026" name="Picture 2" descr="Resultado de imagen de DJSI Member Log">
            <a:extLst>
              <a:ext uri="{FF2B5EF4-FFF2-40B4-BE49-F238E27FC236}">
                <a16:creationId xmlns:a16="http://schemas.microsoft.com/office/drawing/2014/main" id="{892B8B9E-DEBC-4365-A4A8-EB9654BA30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6918" y="5573143"/>
            <a:ext cx="1347482" cy="455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upo 19">
            <a:extLst>
              <a:ext uri="{FF2B5EF4-FFF2-40B4-BE49-F238E27FC236}">
                <a16:creationId xmlns:a16="http://schemas.microsoft.com/office/drawing/2014/main" id="{246620ED-93B0-4966-8E36-4B883B49E634}"/>
              </a:ext>
            </a:extLst>
          </p:cNvPr>
          <p:cNvGrpSpPr/>
          <p:nvPr userDrawn="1"/>
        </p:nvGrpSpPr>
        <p:grpSpPr>
          <a:xfrm>
            <a:off x="7612559" y="5573576"/>
            <a:ext cx="578707" cy="455017"/>
            <a:chOff x="2203451" y="-4230356"/>
            <a:chExt cx="6896100" cy="5422158"/>
          </a:xfrm>
        </p:grpSpPr>
        <p:pic>
          <p:nvPicPr>
            <p:cNvPr id="22" name="Imagen 21" descr="Imagen relacionada">
              <a:extLst>
                <a:ext uri="{FF2B5EF4-FFF2-40B4-BE49-F238E27FC236}">
                  <a16:creationId xmlns:a16="http://schemas.microsoft.com/office/drawing/2014/main" id="{E4D48186-AF8E-4052-97D2-CCAFD0E1AC7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8085" y="-4230356"/>
              <a:ext cx="3798276" cy="3838472"/>
            </a:xfrm>
            <a:custGeom>
              <a:avLst/>
              <a:gdLst>
                <a:gd name="connsiteX0" fmla="*/ 1899138 w 3798276"/>
                <a:gd name="connsiteY0" fmla="*/ 0 h 3838472"/>
                <a:gd name="connsiteX1" fmla="*/ 3798276 w 3798276"/>
                <a:gd name="connsiteY1" fmla="*/ 1919236 h 3838472"/>
                <a:gd name="connsiteX2" fmla="*/ 1899138 w 3798276"/>
                <a:gd name="connsiteY2" fmla="*/ 3838472 h 3838472"/>
                <a:gd name="connsiteX3" fmla="*/ 0 w 3798276"/>
                <a:gd name="connsiteY3" fmla="*/ 1919236 h 3838472"/>
                <a:gd name="connsiteX4" fmla="*/ 1899138 w 3798276"/>
                <a:gd name="connsiteY4" fmla="*/ 0 h 3838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8276" h="3838472">
                  <a:moveTo>
                    <a:pt x="1899138" y="0"/>
                  </a:moveTo>
                  <a:cubicBezTo>
                    <a:pt x="2948003" y="0"/>
                    <a:pt x="3798276" y="859271"/>
                    <a:pt x="3798276" y="1919236"/>
                  </a:cubicBezTo>
                  <a:cubicBezTo>
                    <a:pt x="3798276" y="2979201"/>
                    <a:pt x="2948003" y="3838472"/>
                    <a:pt x="1899138" y="3838472"/>
                  </a:cubicBezTo>
                  <a:cubicBezTo>
                    <a:pt x="850273" y="3838472"/>
                    <a:pt x="0" y="2979201"/>
                    <a:pt x="0" y="1919236"/>
                  </a:cubicBezTo>
                  <a:cubicBezTo>
                    <a:pt x="0" y="859271"/>
                    <a:pt x="850273" y="0"/>
                    <a:pt x="1899138" y="0"/>
                  </a:cubicBez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Imagen 23" descr="Imagen relacionada">
              <a:extLst>
                <a:ext uri="{FF2B5EF4-FFF2-40B4-BE49-F238E27FC236}">
                  <a16:creationId xmlns:a16="http://schemas.microsoft.com/office/drawing/2014/main" id="{411507B2-E393-4DDC-B151-70751F9943C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03451" y="0"/>
              <a:ext cx="6896100" cy="1191802"/>
            </a:xfrm>
            <a:custGeom>
              <a:avLst/>
              <a:gdLst>
                <a:gd name="connsiteX0" fmla="*/ 0 w 6896100"/>
                <a:gd name="connsiteY0" fmla="*/ 0 h 1191802"/>
                <a:gd name="connsiteX1" fmla="*/ 6896100 w 6896100"/>
                <a:gd name="connsiteY1" fmla="*/ 0 h 1191802"/>
                <a:gd name="connsiteX2" fmla="*/ 6896100 w 6896100"/>
                <a:gd name="connsiteY2" fmla="*/ 1191802 h 1191802"/>
                <a:gd name="connsiteX3" fmla="*/ 0 w 6896100"/>
                <a:gd name="connsiteY3" fmla="*/ 1191802 h 119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96100" h="1191802">
                  <a:moveTo>
                    <a:pt x="0" y="0"/>
                  </a:moveTo>
                  <a:lnTo>
                    <a:pt x="6896100" y="0"/>
                  </a:lnTo>
                  <a:lnTo>
                    <a:pt x="6896100" y="1191802"/>
                  </a:lnTo>
                  <a:lnTo>
                    <a:pt x="0" y="1191802"/>
                  </a:ln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CuadroTexto 22">
            <a:extLst>
              <a:ext uri="{FF2B5EF4-FFF2-40B4-BE49-F238E27FC236}">
                <a16:creationId xmlns:a16="http://schemas.microsoft.com/office/drawing/2014/main" id="{B163354C-97AE-4FC8-BF01-B7FCA9B2C7C0}"/>
              </a:ext>
            </a:extLst>
          </p:cNvPr>
          <p:cNvSpPr txBox="1"/>
          <p:nvPr userDrawn="1"/>
        </p:nvSpPr>
        <p:spPr>
          <a:xfrm>
            <a:off x="719288" y="1945649"/>
            <a:ext cx="336547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noProof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r purpose</a:t>
            </a:r>
            <a:r>
              <a:rPr lang="en-GB" sz="1400" baseline="0" noProof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to help people and businesses prosper. </a:t>
            </a:r>
            <a:endParaRPr lang="en-GB" sz="1400" noProof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sz="1400" noProof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sz="1400" noProof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r</a:t>
            </a:r>
            <a:r>
              <a:rPr lang="en-GB" sz="1400" baseline="0" noProof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ulture is based on the belief that everything we do should be. </a:t>
            </a:r>
            <a:endParaRPr lang="en-GB" sz="1400" noProof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68E35268-345F-47C7-ADB2-CE92421E8EED}"/>
              </a:ext>
            </a:extLst>
          </p:cNvPr>
          <p:cNvSpPr txBox="1"/>
          <p:nvPr userDrawn="1"/>
        </p:nvSpPr>
        <p:spPr>
          <a:xfrm>
            <a:off x="721506" y="628193"/>
            <a:ext cx="33654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noProof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</p:txBody>
      </p:sp>
      <p:sp>
        <p:nvSpPr>
          <p:cNvPr id="31" name="Forma libre: forma 30">
            <a:extLst>
              <a:ext uri="{FF2B5EF4-FFF2-40B4-BE49-F238E27FC236}">
                <a16:creationId xmlns:a16="http://schemas.microsoft.com/office/drawing/2014/main" id="{073BDF73-2FC7-4E8C-B95B-B68B9F5D3BE9}"/>
              </a:ext>
            </a:extLst>
          </p:cNvPr>
          <p:cNvSpPr/>
          <p:nvPr userDrawn="1"/>
        </p:nvSpPr>
        <p:spPr>
          <a:xfrm>
            <a:off x="0" y="5229922"/>
            <a:ext cx="12196689" cy="1628078"/>
          </a:xfrm>
          <a:custGeom>
            <a:avLst/>
            <a:gdLst>
              <a:gd name="connsiteX0" fmla="*/ 8932985 w 12196689"/>
              <a:gd name="connsiteY0" fmla="*/ 0 h 1628078"/>
              <a:gd name="connsiteX1" fmla="*/ 12196689 w 12196689"/>
              <a:gd name="connsiteY1" fmla="*/ 0 h 1628078"/>
              <a:gd name="connsiteX2" fmla="*/ 12196689 w 12196689"/>
              <a:gd name="connsiteY2" fmla="*/ 1628078 h 1628078"/>
              <a:gd name="connsiteX3" fmla="*/ 0 w 12196689"/>
              <a:gd name="connsiteY3" fmla="*/ 1628078 h 1628078"/>
              <a:gd name="connsiteX4" fmla="*/ 0 w 12196689"/>
              <a:gd name="connsiteY4" fmla="*/ 1213081 h 1628078"/>
              <a:gd name="connsiteX5" fmla="*/ 8932985 w 12196689"/>
              <a:gd name="connsiteY5" fmla="*/ 1213081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6689" h="1628078">
                <a:moveTo>
                  <a:pt x="8932985" y="0"/>
                </a:moveTo>
                <a:lnTo>
                  <a:pt x="12196689" y="0"/>
                </a:lnTo>
                <a:lnTo>
                  <a:pt x="12196689" y="1628078"/>
                </a:lnTo>
                <a:lnTo>
                  <a:pt x="0" y="1628078"/>
                </a:lnTo>
                <a:lnTo>
                  <a:pt x="0" y="1213081"/>
                </a:lnTo>
                <a:lnTo>
                  <a:pt x="8932985" y="12130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  <p:pic>
        <p:nvPicPr>
          <p:cNvPr id="14" name="Imagen 1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150" y="3450800"/>
            <a:ext cx="2596572" cy="273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6393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F305A9-DE4B-49AF-BCD4-43A65F7EB5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1745" y="1096485"/>
            <a:ext cx="4937184" cy="1407004"/>
          </a:xfrm>
        </p:spPr>
        <p:txBody>
          <a:bodyPr anchor="t">
            <a:normAutofit/>
          </a:bodyPr>
          <a:lstStyle>
            <a:lvl1pPr algn="l">
              <a:lnSpc>
                <a:spcPct val="90000"/>
              </a:lnSpc>
              <a:defRPr sz="41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AB17398-CAA7-49B6-868C-44D053E7EA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4620" y="2722142"/>
            <a:ext cx="4934309" cy="243645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F5E5F18D-70E6-495C-A384-2EDAE00309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9650" y="333651"/>
            <a:ext cx="11177550" cy="4191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457200" indent="0">
              <a:buNone/>
              <a:defRPr sz="1300">
                <a:solidFill>
                  <a:schemeClr val="tx2"/>
                </a:solidFill>
              </a:defRPr>
            </a:lvl2pPr>
            <a:lvl3pPr marL="914400" indent="0">
              <a:buNone/>
              <a:defRPr sz="1300">
                <a:solidFill>
                  <a:schemeClr val="tx2"/>
                </a:solidFill>
              </a:defRPr>
            </a:lvl3pPr>
            <a:lvl4pPr marL="1371600" indent="0">
              <a:buNone/>
              <a:defRPr sz="1300">
                <a:solidFill>
                  <a:schemeClr val="tx2"/>
                </a:solidFill>
              </a:defRPr>
            </a:lvl4pPr>
            <a:lvl5pPr marL="1828800" indent="0"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rma libre: forma 6">
            <a:extLst>
              <a:ext uri="{FF2B5EF4-FFF2-40B4-BE49-F238E27FC236}">
                <a16:creationId xmlns:a16="http://schemas.microsoft.com/office/drawing/2014/main" id="{67D1300D-9BA1-4612-9EA5-90328019812E}"/>
              </a:ext>
            </a:extLst>
          </p:cNvPr>
          <p:cNvSpPr/>
          <p:nvPr userDrawn="1"/>
        </p:nvSpPr>
        <p:spPr>
          <a:xfrm>
            <a:off x="0" y="5229922"/>
            <a:ext cx="12196689" cy="1628078"/>
          </a:xfrm>
          <a:custGeom>
            <a:avLst/>
            <a:gdLst>
              <a:gd name="connsiteX0" fmla="*/ 8932985 w 12196689"/>
              <a:gd name="connsiteY0" fmla="*/ 0 h 1628078"/>
              <a:gd name="connsiteX1" fmla="*/ 12196689 w 12196689"/>
              <a:gd name="connsiteY1" fmla="*/ 0 h 1628078"/>
              <a:gd name="connsiteX2" fmla="*/ 12196689 w 12196689"/>
              <a:gd name="connsiteY2" fmla="*/ 1628078 h 1628078"/>
              <a:gd name="connsiteX3" fmla="*/ 0 w 12196689"/>
              <a:gd name="connsiteY3" fmla="*/ 1628078 h 1628078"/>
              <a:gd name="connsiteX4" fmla="*/ 0 w 12196689"/>
              <a:gd name="connsiteY4" fmla="*/ 1213081 h 1628078"/>
              <a:gd name="connsiteX5" fmla="*/ 8932985 w 12196689"/>
              <a:gd name="connsiteY5" fmla="*/ 1213081 h 162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6689" h="1628078">
                <a:moveTo>
                  <a:pt x="8932985" y="0"/>
                </a:moveTo>
                <a:lnTo>
                  <a:pt x="12196689" y="0"/>
                </a:lnTo>
                <a:lnTo>
                  <a:pt x="12196689" y="1628078"/>
                </a:lnTo>
                <a:lnTo>
                  <a:pt x="0" y="1628078"/>
                </a:lnTo>
                <a:lnTo>
                  <a:pt x="0" y="1213081"/>
                </a:lnTo>
                <a:lnTo>
                  <a:pt x="8932985" y="12130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>
              <a:solidFill>
                <a:prstClr val="white"/>
              </a:solidFill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97428933-1483-4C5D-922D-751BD70C7C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76" y="5759680"/>
            <a:ext cx="2795155" cy="497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0239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a libre: forma 6">
            <a:extLst>
              <a:ext uri="{FF2B5EF4-FFF2-40B4-BE49-F238E27FC236}">
                <a16:creationId xmlns:a16="http://schemas.microsoft.com/office/drawing/2014/main" id="{49C540BB-A189-4361-ABD8-4DA84C6612C3}"/>
              </a:ext>
            </a:extLst>
          </p:cNvPr>
          <p:cNvSpPr/>
          <p:nvPr userDrawn="1"/>
        </p:nvSpPr>
        <p:spPr>
          <a:xfrm>
            <a:off x="8925340" y="0"/>
            <a:ext cx="3266660" cy="6858000"/>
          </a:xfrm>
          <a:custGeom>
            <a:avLst/>
            <a:gdLst>
              <a:gd name="connsiteX0" fmla="*/ 1630018 w 3266660"/>
              <a:gd name="connsiteY0" fmla="*/ 0 h 6858000"/>
              <a:gd name="connsiteX1" fmla="*/ 3266660 w 3266660"/>
              <a:gd name="connsiteY1" fmla="*/ 0 h 6858000"/>
              <a:gd name="connsiteX2" fmla="*/ 3266660 w 3266660"/>
              <a:gd name="connsiteY2" fmla="*/ 6858000 h 6858000"/>
              <a:gd name="connsiteX3" fmla="*/ 0 w 3266660"/>
              <a:gd name="connsiteY3" fmla="*/ 6858000 h 6858000"/>
              <a:gd name="connsiteX4" fmla="*/ 0 w 3266660"/>
              <a:gd name="connsiteY4" fmla="*/ 2822713 h 6858000"/>
              <a:gd name="connsiteX5" fmla="*/ 1630018 w 3266660"/>
              <a:gd name="connsiteY5" fmla="*/ 28227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66660" h="6858000">
                <a:moveTo>
                  <a:pt x="1630018" y="0"/>
                </a:moveTo>
                <a:lnTo>
                  <a:pt x="3266660" y="0"/>
                </a:lnTo>
                <a:lnTo>
                  <a:pt x="3266660" y="6858000"/>
                </a:lnTo>
                <a:lnTo>
                  <a:pt x="0" y="6858000"/>
                </a:lnTo>
                <a:lnTo>
                  <a:pt x="0" y="2822713"/>
                </a:lnTo>
                <a:lnTo>
                  <a:pt x="1630018" y="2822713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045CB15-1F44-40E1-909E-6233010BC1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305" y="149776"/>
            <a:ext cx="4386194" cy="2852737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40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6E38BAEA-EEE9-4346-9DB7-91D26BC942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5217" y="3270526"/>
            <a:ext cx="2958754" cy="2364961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16600">
                <a:solidFill>
                  <a:schemeClr val="bg1"/>
                </a:solidFill>
              </a:defRPr>
            </a:lvl1pPr>
            <a:lvl2pPr>
              <a:defRPr sz="13800">
                <a:solidFill>
                  <a:schemeClr val="tx1"/>
                </a:solidFill>
              </a:defRPr>
            </a:lvl2pPr>
            <a:lvl3pPr>
              <a:defRPr sz="11500">
                <a:solidFill>
                  <a:schemeClr val="tx1"/>
                </a:solidFill>
              </a:defRPr>
            </a:lvl3pPr>
            <a:lvl4pPr>
              <a:defRPr sz="9600">
                <a:solidFill>
                  <a:schemeClr val="tx1"/>
                </a:solidFill>
              </a:defRPr>
            </a:lvl4pPr>
            <a:lvl5pPr>
              <a:defRPr sz="9600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1344338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0CC57AA0-6C3B-4C80-BF6B-C321A960A9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2641" y="1100239"/>
            <a:ext cx="10635843" cy="4906665"/>
          </a:xfrm>
        </p:spPr>
        <p:txBody>
          <a:bodyPr>
            <a:normAutofit/>
          </a:bodyPr>
          <a:lstStyle>
            <a:lvl1pPr marL="432000" indent="-396000">
              <a:buClr>
                <a:schemeClr val="accent1"/>
              </a:buClr>
              <a:buSzPct val="45000"/>
              <a:buFont typeface="+mj-lt"/>
              <a:buAutoNum type="arabicPeriod"/>
              <a:defRPr lang="es-ES" sz="4000" b="1" kern="1200" dirty="0" smtClean="0">
                <a:solidFill>
                  <a:srgbClr val="3C3C3B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s-ES"/>
              <a:t>Editar los estilos de texto del patrón</a:t>
            </a:r>
          </a:p>
        </p:txBody>
      </p:sp>
      <p:pic>
        <p:nvPicPr>
          <p:cNvPr id="7" name="Gráfico 10">
            <a:extLst>
              <a:ext uri="{FF2B5EF4-FFF2-40B4-BE49-F238E27FC236}">
                <a16:creationId xmlns:a16="http://schemas.microsoft.com/office/drawing/2014/main" id="{1FE7499B-1226-4371-B3E5-6DE0E967E6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2642" y="6484268"/>
            <a:ext cx="1172108" cy="205543"/>
          </a:xfrm>
          <a:prstGeom prst="rect">
            <a:avLst/>
          </a:prstGeom>
        </p:spPr>
      </p:pic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C60B320C-F93D-45A7-B5CC-5C18ED1F8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387156"/>
            <a:ext cx="2743200" cy="365125"/>
          </a:xfrm>
        </p:spPr>
        <p:txBody>
          <a:bodyPr/>
          <a:lstStyle>
            <a:lvl1pPr>
              <a:defRPr sz="1300">
                <a:solidFill>
                  <a:schemeClr val="accent1"/>
                </a:solidFill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10683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a libre: forma 5">
            <a:extLst>
              <a:ext uri="{FF2B5EF4-FFF2-40B4-BE49-F238E27FC236}">
                <a16:creationId xmlns:a16="http://schemas.microsoft.com/office/drawing/2014/main" id="{1CB60B27-3339-4968-B60C-5595DBAA9393}"/>
              </a:ext>
            </a:extLst>
          </p:cNvPr>
          <p:cNvSpPr/>
          <p:nvPr userDrawn="1"/>
        </p:nvSpPr>
        <p:spPr>
          <a:xfrm>
            <a:off x="1" y="0"/>
            <a:ext cx="10555357" cy="6858000"/>
          </a:xfrm>
          <a:custGeom>
            <a:avLst/>
            <a:gdLst>
              <a:gd name="connsiteX0" fmla="*/ 0 w 10555357"/>
              <a:gd name="connsiteY0" fmla="*/ 0 h 6858000"/>
              <a:gd name="connsiteX1" fmla="*/ 10555357 w 10555357"/>
              <a:gd name="connsiteY1" fmla="*/ 0 h 6858000"/>
              <a:gd name="connsiteX2" fmla="*/ 10555357 w 10555357"/>
              <a:gd name="connsiteY2" fmla="*/ 2822713 h 6858000"/>
              <a:gd name="connsiteX3" fmla="*/ 8925339 w 10555357"/>
              <a:gd name="connsiteY3" fmla="*/ 2822713 h 6858000"/>
              <a:gd name="connsiteX4" fmla="*/ 8925339 w 10555357"/>
              <a:gd name="connsiteY4" fmla="*/ 6858000 h 6858000"/>
              <a:gd name="connsiteX5" fmla="*/ 0 w 10555357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555357" h="6858000">
                <a:moveTo>
                  <a:pt x="0" y="0"/>
                </a:moveTo>
                <a:lnTo>
                  <a:pt x="10555357" y="0"/>
                </a:lnTo>
                <a:lnTo>
                  <a:pt x="10555357" y="2822713"/>
                </a:lnTo>
                <a:lnTo>
                  <a:pt x="8925339" y="2822713"/>
                </a:lnTo>
                <a:lnTo>
                  <a:pt x="8925339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045CB15-1F44-40E1-909E-6233010BC1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519" y="626373"/>
            <a:ext cx="4386194" cy="2852737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6E38BAEA-EEE9-4346-9DB7-91D26BC942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5217" y="3270526"/>
            <a:ext cx="2958754" cy="2364961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16600">
                <a:solidFill>
                  <a:schemeClr val="accent1"/>
                </a:solidFill>
              </a:defRPr>
            </a:lvl1pPr>
            <a:lvl2pPr>
              <a:defRPr sz="13800">
                <a:solidFill>
                  <a:schemeClr val="tx1"/>
                </a:solidFill>
              </a:defRPr>
            </a:lvl2pPr>
            <a:lvl3pPr>
              <a:defRPr sz="11500">
                <a:solidFill>
                  <a:schemeClr val="tx1"/>
                </a:solidFill>
              </a:defRPr>
            </a:lvl3pPr>
            <a:lvl4pPr>
              <a:defRPr sz="9600">
                <a:solidFill>
                  <a:schemeClr val="tx1"/>
                </a:solidFill>
              </a:defRPr>
            </a:lvl4pPr>
            <a:lvl5pPr>
              <a:defRPr sz="9600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0827835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ulo y contenid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243" y="1087457"/>
            <a:ext cx="5297557" cy="1606047"/>
          </a:xfrm>
        </p:spPr>
        <p:txBody>
          <a:bodyPr anchor="t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s-ES"/>
              <a:t>Aquí Haga clic para modificar el estilo de título del patrón</a:t>
            </a: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1FE7499B-1226-4371-B3E5-6DE0E967E6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2642" y="6484268"/>
            <a:ext cx="1172108" cy="205543"/>
          </a:xfrm>
          <a:prstGeom prst="rect">
            <a:avLst/>
          </a:prstGeom>
        </p:spPr>
      </p:pic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8" name="Marcador de texto 16">
            <a:extLst>
              <a:ext uri="{FF2B5EF4-FFF2-40B4-BE49-F238E27FC236}">
                <a16:creationId xmlns:a16="http://schemas.microsoft.com/office/drawing/2014/main" id="{07C8BA77-3119-41AC-B33B-745A751CC06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1025" y="3093562"/>
            <a:ext cx="5308776" cy="308340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20" name="Marcador de texto 16">
            <a:extLst>
              <a:ext uri="{FF2B5EF4-FFF2-40B4-BE49-F238E27FC236}">
                <a16:creationId xmlns:a16="http://schemas.microsoft.com/office/drawing/2014/main" id="{81AA2FC0-CE4E-483D-AF92-BEA6CD796B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9971" y="1087458"/>
            <a:ext cx="5081004" cy="508950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3" name="Marcador de número de diapositiva 5">
            <a:extLst>
              <a:ext uri="{FF2B5EF4-FFF2-40B4-BE49-F238E27FC236}">
                <a16:creationId xmlns:a16="http://schemas.microsoft.com/office/drawing/2014/main" id="{C60B320C-F93D-45A7-B5CC-5C18ED1F8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387156"/>
            <a:ext cx="2743200" cy="365125"/>
          </a:xfrm>
        </p:spPr>
        <p:txBody>
          <a:bodyPr/>
          <a:lstStyle>
            <a:lvl1pPr>
              <a:defRPr sz="1300">
                <a:solidFill>
                  <a:schemeClr val="accent1"/>
                </a:solidFill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919012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ulo y contenid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243" y="1087457"/>
            <a:ext cx="10758733" cy="1823011"/>
          </a:xfrm>
        </p:spPr>
        <p:txBody>
          <a:bodyPr anchor="t">
            <a:no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s-ES"/>
              <a:t>Aquí Haga clic para modificar el estilo de título del patrón</a:t>
            </a:r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2" name="Marcador de texto 16">
            <a:extLst>
              <a:ext uri="{FF2B5EF4-FFF2-40B4-BE49-F238E27FC236}">
                <a16:creationId xmlns:a16="http://schemas.microsoft.com/office/drawing/2014/main" id="{87DF9564-216B-4533-A626-FE222DEB91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1024" y="3093562"/>
            <a:ext cx="10758733" cy="3083401"/>
          </a:xfrm>
        </p:spPr>
        <p:txBody>
          <a:bodyPr numCol="2" spcCol="720000"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C60B320C-F93D-45A7-B5CC-5C18ED1F8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387156"/>
            <a:ext cx="2743200" cy="365125"/>
          </a:xfrm>
        </p:spPr>
        <p:txBody>
          <a:bodyPr/>
          <a:lstStyle>
            <a:lvl1pPr>
              <a:defRPr sz="1300">
                <a:solidFill>
                  <a:schemeClr val="accent1"/>
                </a:solidFill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  <p:pic>
        <p:nvPicPr>
          <p:cNvPr id="8" name="Gráfico 10">
            <a:extLst>
              <a:ext uri="{FF2B5EF4-FFF2-40B4-BE49-F238E27FC236}">
                <a16:creationId xmlns:a16="http://schemas.microsoft.com/office/drawing/2014/main" id="{1FE7499B-1226-4371-B3E5-6DE0E967E6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2642" y="6484268"/>
            <a:ext cx="1172108" cy="205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6986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B5AEF2-F43E-4C92-A186-61C1E43CE8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1970" y="1109759"/>
            <a:ext cx="3801119" cy="5050689"/>
          </a:xfrm>
        </p:spPr>
        <p:txBody>
          <a:bodyPr anchor="t">
            <a:noAutofit/>
          </a:bodyPr>
          <a:lstStyle>
            <a:lvl1pPr>
              <a:defRPr sz="2500" b="1">
                <a:solidFill>
                  <a:schemeClr val="accent3"/>
                </a:solidFill>
              </a:defRPr>
            </a:lvl1pPr>
          </a:lstStyle>
          <a:p>
            <a:r>
              <a:rPr lang="es-ES" err="1"/>
              <a:t>Lorem</a:t>
            </a:r>
            <a:r>
              <a:rPr lang="es-ES"/>
              <a:t> Haga clic para modificar el estilo de título del patrón</a:t>
            </a:r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2" name="Marcador de texto 16">
            <a:extLst>
              <a:ext uri="{FF2B5EF4-FFF2-40B4-BE49-F238E27FC236}">
                <a16:creationId xmlns:a16="http://schemas.microsoft.com/office/drawing/2014/main" id="{87DF9564-216B-4533-A626-FE222DEB91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2722" y="1126274"/>
            <a:ext cx="6697035" cy="5050690"/>
          </a:xfrm>
        </p:spPr>
        <p:txBody>
          <a:bodyPr numCol="1" spcCol="0"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C60B320C-F93D-45A7-B5CC-5C18ED1F8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387156"/>
            <a:ext cx="2743200" cy="365125"/>
          </a:xfrm>
        </p:spPr>
        <p:txBody>
          <a:bodyPr/>
          <a:lstStyle>
            <a:lvl1pPr>
              <a:defRPr sz="1300">
                <a:solidFill>
                  <a:schemeClr val="accent1"/>
                </a:solidFill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  <p:pic>
        <p:nvPicPr>
          <p:cNvPr id="7" name="Gráfico 10">
            <a:extLst>
              <a:ext uri="{FF2B5EF4-FFF2-40B4-BE49-F238E27FC236}">
                <a16:creationId xmlns:a16="http://schemas.microsoft.com/office/drawing/2014/main" id="{1FE7499B-1226-4371-B3E5-6DE0E967E6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2642" y="6484268"/>
            <a:ext cx="1172108" cy="205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7032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y gráfic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3AABE934-895B-422A-B16D-773558A762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2243" y="1087458"/>
            <a:ext cx="3911401" cy="1183132"/>
          </a:xfrm>
        </p:spPr>
        <p:txBody>
          <a:bodyPr anchor="t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s-ES"/>
              <a:t>Título del patrón</a:t>
            </a:r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1025" y="2517170"/>
            <a:ext cx="3911401" cy="365979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6" name="Marcador de gráfico 5">
            <a:extLst>
              <a:ext uri="{FF2B5EF4-FFF2-40B4-BE49-F238E27FC236}">
                <a16:creationId xmlns:a16="http://schemas.microsoft.com/office/drawing/2014/main" id="{2444BFBF-CC97-48FB-BE66-A28460A7384B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797425" y="1087438"/>
            <a:ext cx="6683550" cy="5122862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s-MX"/>
              <a:t>Inserte </a:t>
            </a:r>
            <a:r>
              <a:rPr lang="es-MX" err="1"/>
              <a:t>aqu</a:t>
            </a:r>
            <a:r>
              <a:rPr lang="es-ES"/>
              <a:t>í su gráfico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C60B320C-F93D-45A7-B5CC-5C18ED1F8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387156"/>
            <a:ext cx="2743200" cy="365125"/>
          </a:xfrm>
        </p:spPr>
        <p:txBody>
          <a:bodyPr/>
          <a:lstStyle>
            <a:lvl1pPr>
              <a:defRPr sz="1300">
                <a:solidFill>
                  <a:schemeClr val="accent1"/>
                </a:solidFill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  <p:pic>
        <p:nvPicPr>
          <p:cNvPr id="10" name="Gráfico 10">
            <a:extLst>
              <a:ext uri="{FF2B5EF4-FFF2-40B4-BE49-F238E27FC236}">
                <a16:creationId xmlns:a16="http://schemas.microsoft.com/office/drawing/2014/main" id="{1FE7499B-1226-4371-B3E5-6DE0E967E6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2642" y="6484268"/>
            <a:ext cx="1172108" cy="205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1207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y gráfic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1025" y="1191802"/>
            <a:ext cx="3911401" cy="498516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2" name="Marcador de tabla 4">
            <a:extLst>
              <a:ext uri="{FF2B5EF4-FFF2-40B4-BE49-F238E27FC236}">
                <a16:creationId xmlns:a16="http://schemas.microsoft.com/office/drawing/2014/main" id="{DF826A4E-1A0C-46D7-8327-402D7A34DE68}"/>
              </a:ext>
            </a:extLst>
          </p:cNvPr>
          <p:cNvSpPr>
            <a:spLocks noGrp="1"/>
          </p:cNvSpPr>
          <p:nvPr>
            <p:ph type="tbl" sz="quarter" idx="18" hasCustomPrompt="1"/>
          </p:nvPr>
        </p:nvSpPr>
        <p:spPr>
          <a:xfrm>
            <a:off x="4867835" y="1707776"/>
            <a:ext cx="6612965" cy="4502524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s-ES"/>
              <a:t>Inserte aquí su tabla</a:t>
            </a:r>
          </a:p>
        </p:txBody>
      </p:sp>
      <p:sp>
        <p:nvSpPr>
          <p:cNvPr id="14" name="Marcador de texto 16">
            <a:extLst>
              <a:ext uri="{FF2B5EF4-FFF2-40B4-BE49-F238E27FC236}">
                <a16:creationId xmlns:a16="http://schemas.microsoft.com/office/drawing/2014/main" id="{C96F8991-1F66-478E-8C12-FB0275A2F29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67835" y="1191802"/>
            <a:ext cx="6587576" cy="38150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C60B320C-F93D-45A7-B5CC-5C18ED1F8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387156"/>
            <a:ext cx="2743200" cy="365125"/>
          </a:xfrm>
        </p:spPr>
        <p:txBody>
          <a:bodyPr/>
          <a:lstStyle>
            <a:lvl1pPr>
              <a:defRPr sz="1300">
                <a:solidFill>
                  <a:schemeClr val="accent1"/>
                </a:solidFill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  <p:pic>
        <p:nvPicPr>
          <p:cNvPr id="9" name="Gráfico 10">
            <a:extLst>
              <a:ext uri="{FF2B5EF4-FFF2-40B4-BE49-F238E27FC236}">
                <a16:creationId xmlns:a16="http://schemas.microsoft.com/office/drawing/2014/main" id="{1FE7499B-1226-4371-B3E5-6DE0E967E6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2642" y="6484268"/>
            <a:ext cx="1172108" cy="205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2621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y gráfico 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05897091-A449-4E0A-B444-7171DF9023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1024" y="337100"/>
            <a:ext cx="10758734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100"/>
            </a:lvl2pPr>
            <a:lvl3pPr marL="914400" indent="0">
              <a:buFontTx/>
              <a:buNone/>
              <a:defRPr sz="105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3" name="Marcador de texto 16">
            <a:extLst>
              <a:ext uri="{FF2B5EF4-FFF2-40B4-BE49-F238E27FC236}">
                <a16:creationId xmlns:a16="http://schemas.microsoft.com/office/drawing/2014/main" id="{3C0F691A-2EF3-4A5F-A7E8-E01ADBCA23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1025" y="1191802"/>
            <a:ext cx="3911401" cy="65754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9" name="Marcador de texto 16">
            <a:extLst>
              <a:ext uri="{FF2B5EF4-FFF2-40B4-BE49-F238E27FC236}">
                <a16:creationId xmlns:a16="http://schemas.microsoft.com/office/drawing/2014/main" id="{714DD14E-5956-4FB9-8BE1-1064DD29319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024062" y="1191802"/>
            <a:ext cx="6456737" cy="65754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00"/>
              </a:spcAft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FontTx/>
              <a:buNone/>
              <a:defRPr lang="es-ES" sz="12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FontTx/>
              <a:buNone/>
              <a:defRPr lang="es-ES"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6" name="Marcador de gráfico 4">
            <a:extLst>
              <a:ext uri="{FF2B5EF4-FFF2-40B4-BE49-F238E27FC236}">
                <a16:creationId xmlns:a16="http://schemas.microsoft.com/office/drawing/2014/main" id="{9BA63F5F-FC37-4202-A6A3-A0F3EFAC9EB6}"/>
              </a:ext>
            </a:extLst>
          </p:cNvPr>
          <p:cNvSpPr>
            <a:spLocks noGrp="1"/>
          </p:cNvSpPr>
          <p:nvPr>
            <p:ph type="chart" sz="quarter" idx="20" hasCustomPrompt="1"/>
          </p:nvPr>
        </p:nvSpPr>
        <p:spPr>
          <a:xfrm>
            <a:off x="711200" y="1993900"/>
            <a:ext cx="3911600" cy="360578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tx2"/>
                </a:solidFill>
              </a:defRPr>
            </a:lvl1pPr>
          </a:lstStyle>
          <a:p>
            <a:r>
              <a:rPr lang="es-ES"/>
              <a:t>Inserte aquí su gráfico</a:t>
            </a:r>
          </a:p>
        </p:txBody>
      </p:sp>
      <p:sp>
        <p:nvSpPr>
          <p:cNvPr id="17" name="Marcador de gráfico 4">
            <a:extLst>
              <a:ext uri="{FF2B5EF4-FFF2-40B4-BE49-F238E27FC236}">
                <a16:creationId xmlns:a16="http://schemas.microsoft.com/office/drawing/2014/main" id="{0CABFB2C-905F-4A94-BBC0-7C32FA7695A4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5024063" y="1993900"/>
            <a:ext cx="6472718" cy="360578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tx2"/>
                </a:solidFill>
              </a:defRPr>
            </a:lvl1pPr>
          </a:lstStyle>
          <a:p>
            <a:r>
              <a:rPr lang="es-ES"/>
              <a:t>Inserte aquí su gráfico</a:t>
            </a:r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AEAA6F10-C407-4622-AF96-B2605139D86B}"/>
              </a:ext>
            </a:extLst>
          </p:cNvPr>
          <p:cNvSpPr/>
          <p:nvPr userDrawn="1"/>
        </p:nvSpPr>
        <p:spPr>
          <a:xfrm>
            <a:off x="4742395" y="3685061"/>
            <a:ext cx="187151" cy="207057"/>
          </a:xfrm>
          <a:custGeom>
            <a:avLst/>
            <a:gdLst/>
            <a:ahLst/>
            <a:cxnLst/>
            <a:rect l="l" t="t" r="r" b="b"/>
            <a:pathLst>
              <a:path w="187151" h="207057">
                <a:moveTo>
                  <a:pt x="0" y="0"/>
                </a:moveTo>
                <a:lnTo>
                  <a:pt x="187151" y="80925"/>
                </a:lnTo>
                <a:lnTo>
                  <a:pt x="187151" y="125574"/>
                </a:lnTo>
                <a:lnTo>
                  <a:pt x="0" y="207057"/>
                </a:lnTo>
                <a:lnTo>
                  <a:pt x="0" y="154409"/>
                </a:lnTo>
                <a:lnTo>
                  <a:pt x="130596" y="103064"/>
                </a:lnTo>
                <a:lnTo>
                  <a:pt x="0" y="5227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C60B320C-F93D-45A7-B5CC-5C18ED1F8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0845" y="6387156"/>
            <a:ext cx="2743200" cy="365125"/>
          </a:xfrm>
        </p:spPr>
        <p:txBody>
          <a:bodyPr/>
          <a:lstStyle>
            <a:lvl1pPr>
              <a:defRPr sz="1300">
                <a:solidFill>
                  <a:schemeClr val="accent1"/>
                </a:solidFill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  <p:pic>
        <p:nvPicPr>
          <p:cNvPr id="10" name="Gráfico 10">
            <a:extLst>
              <a:ext uri="{FF2B5EF4-FFF2-40B4-BE49-F238E27FC236}">
                <a16:creationId xmlns:a16="http://schemas.microsoft.com/office/drawing/2014/main" id="{1FE7499B-1226-4371-B3E5-6DE0E967E6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2642" y="6484268"/>
            <a:ext cx="1172108" cy="205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9256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137BBD3-DF2F-4182-A29F-48A4A9704D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36918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7" imgW="415" imgH="416" progId="TCLayout.ActiveDocument.1">
                  <p:embed/>
                </p:oleObj>
              </mc:Choice>
              <mc:Fallback>
                <p:oleObj name="think-cell Slide" r:id="rId17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137BBD3-DF2F-4182-A29F-48A4A9704D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103D22C-9CA4-4B32-9212-99C7C4CEBB12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A508141E-100E-4635-9FC3-353399DFCC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0BD3726-4CCC-4808-AF74-D4FC34B77C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9DA10A-F167-488F-8E2B-A0FE565022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C937220-A8C8-4E71-8BA2-4260C5636D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D5E98D6-3F4E-4F5E-9BFB-DDFD9AC1E7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0000"/>
                </a:solidFill>
              </a:defRPr>
            </a:lvl1pPr>
          </a:lstStyle>
          <a:p>
            <a:fld id="{BC0D97B6-E32F-4D7D-B839-7C3B51F2640F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04683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50" r:id="rId2"/>
    <p:sldLayoutId id="2147483668" r:id="rId3"/>
    <p:sldLayoutId id="2147483652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9" r:id="rId11"/>
    <p:sldLayoutId id="214748367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6" Type="http://schemas.microsoft.com/office/2007/relationships/hdphoto" Target="../media/hdphoto1.wdp"/><Relationship Id="rId11" Type="http://schemas.openxmlformats.org/officeDocument/2006/relationships/image" Target="../media/image19.png"/><Relationship Id="rId5" Type="http://schemas.openxmlformats.org/officeDocument/2006/relationships/image" Target="../media/image15.png"/><Relationship Id="rId10" Type="http://schemas.openxmlformats.org/officeDocument/2006/relationships/image" Target="../media/image18.png"/><Relationship Id="rId4" Type="http://schemas.openxmlformats.org/officeDocument/2006/relationships/image" Target="../media/image14.png"/><Relationship Id="rId9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22.jpeg"/><Relationship Id="rId3" Type="http://schemas.openxmlformats.org/officeDocument/2006/relationships/image" Target="../media/image12.png"/><Relationship Id="rId7" Type="http://schemas.microsoft.com/office/2007/relationships/hdphoto" Target="../media/hdphoto3.wdp"/><Relationship Id="rId12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11" Type="http://schemas.openxmlformats.org/officeDocument/2006/relationships/image" Target="../media/image21.png"/><Relationship Id="rId5" Type="http://schemas.microsoft.com/office/2007/relationships/hdphoto" Target="../media/hdphoto1.wdp"/><Relationship Id="rId10" Type="http://schemas.microsoft.com/office/2007/relationships/hdphoto" Target="../media/hdphoto2.wdp"/><Relationship Id="rId4" Type="http://schemas.openxmlformats.org/officeDocument/2006/relationships/image" Target="../media/image15.png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8468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ES" sz="400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40447380-3E61-4E42-AFCA-CAF1866AAF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9650" y="1109184"/>
            <a:ext cx="8384156" cy="1661447"/>
          </a:xfrm>
        </p:spPr>
        <p:txBody>
          <a:bodyPr vert="horz">
            <a:normAutofit fontScale="90000"/>
          </a:bodyPr>
          <a:lstStyle/>
          <a:p>
            <a:r>
              <a:rPr lang="en-US" sz="4400">
                <a:latin typeface="Calibri"/>
                <a:ea typeface="Calibri"/>
                <a:cs typeface="Calibri"/>
              </a:rPr>
              <a:t>PROYECTO AVAs-FVAs</a:t>
            </a:r>
            <a:br>
              <a:rPr lang="en-US" sz="4400">
                <a:latin typeface="Calibri" panose="020F0502020204030204" pitchFamily="34" charset="0"/>
              </a:rPr>
            </a:br>
            <a:br>
              <a:rPr lang="en-US" sz="4400">
                <a:latin typeface="Calibri" panose="020F0502020204030204" pitchFamily="34" charset="0"/>
              </a:rPr>
            </a:br>
            <a:r>
              <a:rPr lang="es-ES" sz="4400">
                <a:latin typeface="Calibri"/>
                <a:ea typeface="Calibri"/>
                <a:cs typeface="Calibri"/>
              </a:rPr>
              <a:t>Seguimiento (29/09/2022)</a:t>
            </a:r>
            <a:endParaRPr lang="en-US">
              <a:latin typeface="Arial"/>
              <a:ea typeface="Calibri"/>
              <a:cs typeface="Arial"/>
            </a:endParaRP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846C0DCE-BC9C-49A6-A719-B8608011D8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9650" y="333651"/>
            <a:ext cx="11177550" cy="41910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SCIB - Market Risk Treasury </a:t>
            </a:r>
            <a:r>
              <a:rPr lang="en-US" err="1"/>
              <a:t>Boadilla</a:t>
            </a:r>
            <a:r>
              <a:rPr lang="en-US"/>
              <a:t> 	</a:t>
            </a:r>
            <a:r>
              <a:rPr lang="en-US" err="1"/>
              <a:t>Boadilla</a:t>
            </a:r>
            <a:r>
              <a:rPr lang="en-US"/>
              <a:t> del Monte	</a:t>
            </a:r>
            <a:r>
              <a:rPr lang="es-ES"/>
              <a:t>Septiembre </a:t>
            </a:r>
            <a:r>
              <a:rPr lang="en-US"/>
              <a:t>2022</a:t>
            </a:r>
          </a:p>
        </p:txBody>
      </p:sp>
    </p:spTree>
    <p:extLst>
      <p:ext uri="{BB962C8B-B14F-4D97-AF65-F5344CB8AC3E}">
        <p14:creationId xmlns:p14="http://schemas.microsoft.com/office/powerpoint/2010/main" val="12652816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4925858F-47A8-45A9-8EA2-A71DE79FD0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1930505"/>
              </p:ext>
            </p:extLst>
          </p:nvPr>
        </p:nvGraphicFramePr>
        <p:xfrm>
          <a:off x="373499" y="1332101"/>
          <a:ext cx="11392895" cy="4121198"/>
        </p:xfrm>
        <a:graphic>
          <a:graphicData uri="http://schemas.openxmlformats.org/drawingml/2006/table">
            <a:tbl>
              <a:tblPr/>
              <a:tblGrid>
                <a:gridCol w="10917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5155">
                  <a:extLst>
                    <a:ext uri="{9D8B030D-6E8A-4147-A177-3AD203B41FA5}">
                      <a16:colId xmlns:a16="http://schemas.microsoft.com/office/drawing/2014/main" val="384561633"/>
                    </a:ext>
                  </a:extLst>
                </a:gridCol>
                <a:gridCol w="3052393">
                  <a:extLst>
                    <a:ext uri="{9D8B030D-6E8A-4147-A177-3AD203B41FA5}">
                      <a16:colId xmlns:a16="http://schemas.microsoft.com/office/drawing/2014/main" val="921812100"/>
                    </a:ext>
                  </a:extLst>
                </a:gridCol>
                <a:gridCol w="1278412">
                  <a:extLst>
                    <a:ext uri="{9D8B030D-6E8A-4147-A177-3AD203B41FA5}">
                      <a16:colId xmlns:a16="http://schemas.microsoft.com/office/drawing/2014/main" val="4089891530"/>
                    </a:ext>
                  </a:extLst>
                </a:gridCol>
                <a:gridCol w="722048">
                  <a:extLst>
                    <a:ext uri="{9D8B030D-6E8A-4147-A177-3AD203B41FA5}">
                      <a16:colId xmlns:a16="http://schemas.microsoft.com/office/drawing/2014/main" val="1542921772"/>
                    </a:ext>
                  </a:extLst>
                </a:gridCol>
                <a:gridCol w="1276368">
                  <a:extLst>
                    <a:ext uri="{9D8B030D-6E8A-4147-A177-3AD203B41FA5}">
                      <a16:colId xmlns:a16="http://schemas.microsoft.com/office/drawing/2014/main" val="1585417047"/>
                    </a:ext>
                  </a:extLst>
                </a:gridCol>
                <a:gridCol w="1588997">
                  <a:extLst>
                    <a:ext uri="{9D8B030D-6E8A-4147-A177-3AD203B41FA5}">
                      <a16:colId xmlns:a16="http://schemas.microsoft.com/office/drawing/2014/main" val="1856661771"/>
                    </a:ext>
                  </a:extLst>
                </a:gridCol>
                <a:gridCol w="1109505">
                  <a:extLst>
                    <a:ext uri="{9D8B030D-6E8A-4147-A177-3AD203B41FA5}">
                      <a16:colId xmlns:a16="http://schemas.microsoft.com/office/drawing/2014/main" val="890571747"/>
                    </a:ext>
                  </a:extLst>
                </a:gridCol>
                <a:gridCol w="668274">
                  <a:extLst>
                    <a:ext uri="{9D8B030D-6E8A-4147-A177-3AD203B41FA5}">
                      <a16:colId xmlns:a16="http://schemas.microsoft.com/office/drawing/2014/main" val="41579248"/>
                    </a:ext>
                  </a:extLst>
                </a:gridCol>
              </a:tblGrid>
              <a:tr h="47897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Línea de acció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Estad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Aspectos destac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Riesgos </a:t>
                      </a:r>
                      <a:endParaRPr lang="es-ES" sz="1100" b="1" i="0" u="none" strike="noStrike" noProof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Impact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Hitos afect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Próximos pas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Dueñ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Fecha límit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819693"/>
                  </a:ext>
                </a:extLst>
              </a:tr>
              <a:tr h="573892">
                <a:tc>
                  <a:txBody>
                    <a:bodyPr/>
                    <a:lstStyle/>
                    <a:p>
                      <a:pPr marL="0" marR="0" lvl="0" indent="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ES_tradnl" sz="1200" b="1" i="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 Light"/>
                          <a:cs typeface="Calibri Light"/>
                        </a:rPr>
                        <a:t> MEXICO</a:t>
                      </a:r>
                      <a:endParaRPr lang="es-ES_tradnl" sz="1100" b="1" i="0" u="none" strike="noStrike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s-E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Retrasos en la validación de FX Vega debido a la justificación de impactos respecto a su AS IS (no prioritaria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Posible retraso en IR Delta por la optimización de portfolios del ALCO.</a:t>
                      </a:r>
                      <a:endParaRPr lang="es-ES" sz="1000" b="0" i="0" u="none" strike="noStrike" kern="1200" noProof="0">
                        <a:effectLst/>
                      </a:endParaRPr>
                    </a:p>
                    <a:p>
                      <a:pPr marL="171450" lvl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Retraso en FX Vega por impactos elevados que necesitan justificación</a:t>
                      </a:r>
                      <a:endParaRPr lang="es-ES" sz="1000" b="0" i="0" u="none" strike="noStrike" kern="1200" noProof="0"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BAJO</a:t>
                      </a:r>
                      <a:endParaRPr 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Puesta en producción 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Implementación</a:t>
                      </a:r>
                      <a:endParaRPr lang="en-US"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Optimización de portfolios y análisis de exenciones (nuevos estándares </a:t>
                      </a:r>
                      <a:r>
                        <a:rPr lang="es-ES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corp</a:t>
                      </a:r>
                      <a:r>
                        <a:rPr lang="es-E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Luisa </a:t>
                      </a:r>
                      <a:r>
                        <a:rPr kumimoji="0" lang="es-ES" sz="1000" b="0" i="0" u="none" strike="noStrike" kern="1200" cap="none" spc="0" normalizeH="0" baseline="0" noProof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Mirelle</a:t>
                      </a: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 Castro</a:t>
                      </a:r>
                      <a:endParaRPr lang="en-US"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3399217"/>
                  </a:ext>
                </a:extLst>
              </a:tr>
              <a:tr h="8387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100" b="1" i="0" u="sng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IR Vega</a:t>
                      </a:r>
                    </a:p>
                  </a:txBody>
                  <a:tcPr marL="45720" marR="45720" anchor="ctr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s-ES" sz="1000" b="0" i="0" u="none" strike="noStrike" noProof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Retraso en la fecha de cierre de desarrollo para comienzo de </a:t>
                      </a:r>
                      <a:r>
                        <a:rPr lang="es-E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UATs</a:t>
                      </a: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 locales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ALTO</a:t>
                      </a:r>
                      <a:endParaRPr kumimoji="0" lang="es-E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 Implementación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Lanzamiento </a:t>
                      </a:r>
                      <a:r>
                        <a:rPr lang="es-ES" sz="1000" b="0" i="0" u="none" strike="noStrike" kern="120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UATs</a:t>
                      </a:r>
                      <a:endParaRPr lang="es-ES" sz="1000" b="0" i="0" u="none" strike="noStrike" kern="1200" noProof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 rowSpan="3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Luisa </a:t>
                      </a:r>
                      <a:r>
                        <a:rPr lang="es-ES" sz="1000" b="0" i="0" u="none" strike="noStrike" kern="120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Mirelle</a:t>
                      </a: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 Castro</a:t>
                      </a:r>
                      <a:endParaRPr 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sng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20/09/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i="0" u="none" strike="noStrike">
                          <a:solidFill>
                            <a:schemeClr val="accent1"/>
                          </a:solidFill>
                          <a:effectLst/>
                          <a:latin typeface="Calibri Light"/>
                          <a:cs typeface="Calibri Light"/>
                        </a:rPr>
                        <a:t>TBD</a:t>
                      </a:r>
                      <a:endParaRPr lang="es-ES" sz="1000" b="0" i="0" u="none" strike="sngStrike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85356000"/>
                  </a:ext>
                </a:extLst>
              </a:tr>
              <a:tr h="6842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100" b="1" i="0" u="sng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EQ Vega</a:t>
                      </a:r>
                    </a:p>
                  </a:txBody>
                  <a:tcPr marL="45720" marR="45720" anchor="ctr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None/>
                      </a:pPr>
                      <a:endParaRPr lang="es-ES" sz="1000" b="0" i="0" u="none" strike="noStrike" kern="1200" noProof="0">
                        <a:solidFill>
                          <a:schemeClr val="tx1"/>
                        </a:solidFill>
                        <a:effectLst/>
                        <a:latin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Retraso en el comienzo de </a:t>
                      </a:r>
                      <a:r>
                        <a:rPr lang="es-ES" sz="1000" b="0" i="0" u="none" strike="noStrike" kern="120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UATs</a:t>
                      </a:r>
                      <a:r>
                        <a:rPr lang="es-E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por priorización de calculadora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BAJO</a:t>
                      </a:r>
                      <a:endParaRPr kumimoji="0" 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 Implementación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</a:rPr>
                        <a:t>Lanzamiento </a:t>
                      </a:r>
                      <a:r>
                        <a:rPr lang="es-ES" sz="1000" b="0" i="0" u="none" strike="noStrike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</a:rPr>
                        <a:t>UATs</a:t>
                      </a:r>
                      <a:endParaRPr lang="es-ES" sz="1000" b="0" i="0" u="none" strike="noStrike" noProof="0">
                        <a:effectLst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00" b="0" i="0" u="none" strike="noStrike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i="0" u="none" strike="noStrike">
                          <a:solidFill>
                            <a:schemeClr val="accent1"/>
                          </a:solidFill>
                          <a:effectLst/>
                          <a:latin typeface="Calibri Light"/>
                          <a:cs typeface="Calibri Light"/>
                        </a:rPr>
                        <a:t>TBD</a:t>
                      </a:r>
                      <a:endParaRPr lang="es-ES" sz="1000" b="0" i="0" u="none" strike="sngStrike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23363860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100" b="1" i="0" u="sng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FX Vega</a:t>
                      </a:r>
                    </a:p>
                  </a:txBody>
                  <a:tcPr marL="45720" marR="45720" anchor="ctr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>
                        <a:solidFill>
                          <a:srgbClr val="FFC000"/>
                        </a:solidFill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WIP análisis local de resultados y justificación de impacto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WIP análisis IPV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Retraso en el </a:t>
                      </a:r>
                      <a:r>
                        <a:rPr lang="es-ES" sz="1000" b="0" i="0" u="none" strike="noStrike" kern="120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ssessment</a:t>
                      </a:r>
                      <a:r>
                        <a:rPr lang="es-E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por dependencia de justificación con FO de impactos</a:t>
                      </a:r>
                      <a:endParaRPr lang="en-US"/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</a:rPr>
                        <a:t>BAJO</a:t>
                      </a:r>
                      <a:endParaRPr lang="es-ES" sz="10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ssessment</a:t>
                      </a: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e  implementación</a:t>
                      </a:r>
                      <a:endParaRPr lang="en-US"/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Feedback</a:t>
                      </a:r>
                      <a:r>
                        <a:rPr lang="es-E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sobre resultados 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Lanzamiento de </a:t>
                      </a:r>
                      <a:r>
                        <a:rPr lang="es-ES" sz="1000" b="0" i="0" u="none" strike="noStrike" kern="120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UATs</a:t>
                      </a: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00" b="0" i="0" u="none" strike="noStrike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30/09/2022</a:t>
                      </a:r>
                      <a:endParaRPr lang="en-US"/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55512296"/>
                  </a:ext>
                </a:extLst>
              </a:tr>
            </a:tbl>
          </a:graphicData>
        </a:graphic>
      </p:graphicFrame>
      <p:sp>
        <p:nvSpPr>
          <p:cNvPr id="28" name="Flecha abajo 30">
            <a:extLst>
              <a:ext uri="{FF2B5EF4-FFF2-40B4-BE49-F238E27FC236}">
                <a16:creationId xmlns:a16="http://schemas.microsoft.com/office/drawing/2014/main" id="{754469ED-130F-4300-AC68-32C879679BD7}"/>
              </a:ext>
            </a:extLst>
          </p:cNvPr>
          <p:cNvSpPr/>
          <p:nvPr/>
        </p:nvSpPr>
        <p:spPr>
          <a:xfrm rot="16200000">
            <a:off x="10850394" y="-181510"/>
            <a:ext cx="188435" cy="11880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9" name="Text Box 10">
            <a:extLst>
              <a:ext uri="{FF2B5EF4-FFF2-40B4-BE49-F238E27FC236}">
                <a16:creationId xmlns:a16="http://schemas.microsoft.com/office/drawing/2014/main" id="{548AAC74-1BDF-45CE-9935-30F462ABFF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52735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1</a:t>
            </a:r>
          </a:p>
        </p:txBody>
      </p:sp>
      <p:sp>
        <p:nvSpPr>
          <p:cNvPr id="30" name="Text Box 10">
            <a:extLst>
              <a:ext uri="{FF2B5EF4-FFF2-40B4-BE49-F238E27FC236}">
                <a16:creationId xmlns:a16="http://schemas.microsoft.com/office/drawing/2014/main" id="{AF1693BD-6409-4249-8954-B9E82F5587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95673" y="233676"/>
            <a:ext cx="360000" cy="360000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2</a:t>
            </a:r>
            <a:endParaRPr lang="en-US"/>
          </a:p>
        </p:txBody>
      </p:sp>
      <p:sp>
        <p:nvSpPr>
          <p:cNvPr id="31" name="Text Box 10">
            <a:extLst>
              <a:ext uri="{FF2B5EF4-FFF2-40B4-BE49-F238E27FC236}">
                <a16:creationId xmlns:a16="http://schemas.microsoft.com/office/drawing/2014/main" id="{8A994B91-18DC-4E13-A3A5-D0A9655D38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8612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marL="0" marR="0" lvl="0" indent="0" algn="ctr" defTabSz="957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2" name="Rectangle 11">
            <a:extLst>
              <a:ext uri="{FF2B5EF4-FFF2-40B4-BE49-F238E27FC236}">
                <a16:creationId xmlns:a16="http://schemas.microsoft.com/office/drawing/2014/main" id="{0BE2FE56-0F53-416C-ADCD-0D01D3864F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11577" y="515588"/>
            <a:ext cx="1728192" cy="426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36000" tIns="45671" rIns="36000" bIns="45671" anchor="ctr"/>
          <a:lstStyle/>
          <a:p>
            <a:pPr algn="ctr" defTabSz="914377">
              <a:defRPr/>
            </a:pPr>
            <a:r>
              <a:rPr lang="es-ES" sz="1200" b="1" kern="0" cap="small">
                <a:solidFill>
                  <a:srgbClr val="FF0000"/>
                </a:solidFill>
                <a:latin typeface="Calibri"/>
                <a:cs typeface="Calibri"/>
              </a:rPr>
              <a:t>ESTADO A 29.09.2022</a:t>
            </a:r>
            <a:endParaRPr lang="es-ES" sz="1200" kern="0" cap="small">
              <a:ea typeface="+mn-lt"/>
              <a:cs typeface="+mn-lt"/>
            </a:endParaRPr>
          </a:p>
        </p:txBody>
      </p:sp>
      <p:sp>
        <p:nvSpPr>
          <p:cNvPr id="33" name="TituloSlide">
            <a:extLst>
              <a:ext uri="{FF2B5EF4-FFF2-40B4-BE49-F238E27FC236}">
                <a16:creationId xmlns:a16="http://schemas.microsoft.com/office/drawing/2014/main" id="{9944B308-09FB-4057-8886-B36EFF778F7A}"/>
              </a:ext>
            </a:extLst>
          </p:cNvPr>
          <p:cNvSpPr txBox="1">
            <a:spLocks/>
          </p:cNvSpPr>
          <p:nvPr/>
        </p:nvSpPr>
        <p:spPr>
          <a:xfrm>
            <a:off x="669432" y="290771"/>
            <a:ext cx="10695254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sz="2800">
                <a:solidFill>
                  <a:srgbClr val="EB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 Risk Advanced Platform</a:t>
            </a:r>
            <a:endParaRPr lang="en-029" sz="2800">
              <a:solidFill>
                <a:srgbClr val="EB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sz="200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VAs AVAs Status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78337F9-4342-48EE-B9E5-6067A50D4234}"/>
              </a:ext>
            </a:extLst>
          </p:cNvPr>
          <p:cNvGrpSpPr/>
          <p:nvPr/>
        </p:nvGrpSpPr>
        <p:grpSpPr>
          <a:xfrm>
            <a:off x="5056297" y="6474002"/>
            <a:ext cx="6451802" cy="369332"/>
            <a:chOff x="5056297" y="6382562"/>
            <a:chExt cx="6451802" cy="369332"/>
          </a:xfrm>
        </p:grpSpPr>
        <p:sp>
          <p:nvSpPr>
            <p:cNvPr id="35" name="Rectangle 11">
              <a:extLst>
                <a:ext uri="{FF2B5EF4-FFF2-40B4-BE49-F238E27FC236}">
                  <a16:creationId xmlns:a16="http://schemas.microsoft.com/office/drawing/2014/main" id="{690927A7-78B7-4F92-B898-F30F1712F5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8556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ompleted</a:t>
              </a:r>
            </a:p>
          </p:txBody>
        </p:sp>
        <p:sp>
          <p:nvSpPr>
            <p:cNvPr id="36" name="Rectangle 11">
              <a:extLst>
                <a:ext uri="{FF2B5EF4-FFF2-40B4-BE49-F238E27FC236}">
                  <a16:creationId xmlns:a16="http://schemas.microsoft.com/office/drawing/2014/main" id="{AFACEA69-238D-4884-AC14-87EAB4BB4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8299" y="6454663"/>
              <a:ext cx="750152" cy="191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ery delayed 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≥ 30%)</a:t>
              </a:r>
            </a:p>
          </p:txBody>
        </p:sp>
        <p:sp>
          <p:nvSpPr>
            <p:cNvPr id="37" name="Rectangle 11">
              <a:extLst>
                <a:ext uri="{FF2B5EF4-FFF2-40B4-BE49-F238E27FC236}">
                  <a16:creationId xmlns:a16="http://schemas.microsoft.com/office/drawing/2014/main" id="{8F09D271-3BE0-4880-BDF0-50C8E0E8AC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1732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o be started</a:t>
              </a:r>
            </a:p>
          </p:txBody>
        </p:sp>
        <p:sp>
          <p:nvSpPr>
            <p:cNvPr id="38" name="Rectangle 11">
              <a:extLst>
                <a:ext uri="{FF2B5EF4-FFF2-40B4-BE49-F238E27FC236}">
                  <a16:creationId xmlns:a16="http://schemas.microsoft.com/office/drawing/2014/main" id="{2A5E7473-BF44-4337-9487-9ED34A334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06236" y="6455802"/>
              <a:ext cx="801863" cy="199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 Risk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Issues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Dependencie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E083C6D4-633F-4A2E-B8F1-902228FD41FB}"/>
                </a:ext>
              </a:extLst>
            </p:cNvPr>
            <p:cNvSpPr txBox="1"/>
            <p:nvPr/>
          </p:nvSpPr>
          <p:spPr>
            <a:xfrm>
              <a:off x="5056297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E7D2BB93-6585-479B-AABC-9DAA479CDE22}"/>
                </a:ext>
              </a:extLst>
            </p:cNvPr>
            <p:cNvSpPr txBox="1"/>
            <p:nvPr/>
          </p:nvSpPr>
          <p:spPr>
            <a:xfrm>
              <a:off x="586576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1" name="Rectangle 11">
              <a:extLst>
                <a:ext uri="{FF2B5EF4-FFF2-40B4-BE49-F238E27FC236}">
                  <a16:creationId xmlns:a16="http://schemas.microsoft.com/office/drawing/2014/main" id="{6AA81364-E9ED-4E5A-A907-AC478E4703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2909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elayed / Slightly delayed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E5AFEDE-B52B-4777-9F26-719967882CEC}"/>
                </a:ext>
              </a:extLst>
            </p:cNvPr>
            <p:cNvSpPr txBox="1"/>
            <p:nvPr/>
          </p:nvSpPr>
          <p:spPr>
            <a:xfrm>
              <a:off x="6865731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E5AB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E5AB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3" name="Rectangle 11">
              <a:extLst>
                <a:ext uri="{FF2B5EF4-FFF2-40B4-BE49-F238E27FC236}">
                  <a16:creationId xmlns:a16="http://schemas.microsoft.com/office/drawing/2014/main" id="{EADF17B4-D3D7-45A4-9771-308953B6AB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8838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On time / Ahead of plan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BE6E27B-BC7E-4D81-B388-880B9C257ECF}"/>
                </a:ext>
              </a:extLst>
            </p:cNvPr>
            <p:cNvSpPr txBox="1"/>
            <p:nvPr/>
          </p:nvSpPr>
          <p:spPr>
            <a:xfrm>
              <a:off x="8261938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EA89072E-EC84-431F-8F3F-3F02840FA8AF}"/>
                </a:ext>
              </a:extLst>
            </p:cNvPr>
            <p:cNvSpPr txBox="1"/>
            <p:nvPr/>
          </p:nvSpPr>
          <p:spPr>
            <a:xfrm>
              <a:off x="971910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13FF9AC2-45A9-45E7-84D1-FA64961A1EF3}"/>
              </a:ext>
            </a:extLst>
          </p:cNvPr>
          <p:cNvSpPr txBox="1"/>
          <p:nvPr/>
        </p:nvSpPr>
        <p:spPr>
          <a:xfrm>
            <a:off x="373500" y="99354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Local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Assessment</a:t>
            </a: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 &amp; Inputs</a:t>
            </a:r>
          </a:p>
        </p:txBody>
      </p:sp>
    </p:spTree>
    <p:extLst>
      <p:ext uri="{BB962C8B-B14F-4D97-AF65-F5344CB8AC3E}">
        <p14:creationId xmlns:p14="http://schemas.microsoft.com/office/powerpoint/2010/main" val="21555259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32906022-4698-44F1-AC4E-A5A0CC39F6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0900759"/>
              </p:ext>
            </p:extLst>
          </p:nvPr>
        </p:nvGraphicFramePr>
        <p:xfrm>
          <a:off x="373499" y="1352794"/>
          <a:ext cx="11392898" cy="4470058"/>
        </p:xfrm>
        <a:graphic>
          <a:graphicData uri="http://schemas.openxmlformats.org/drawingml/2006/table">
            <a:tbl>
              <a:tblPr/>
              <a:tblGrid>
                <a:gridCol w="10917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5155">
                  <a:extLst>
                    <a:ext uri="{9D8B030D-6E8A-4147-A177-3AD203B41FA5}">
                      <a16:colId xmlns:a16="http://schemas.microsoft.com/office/drawing/2014/main" val="384561633"/>
                    </a:ext>
                  </a:extLst>
                </a:gridCol>
                <a:gridCol w="3052394">
                  <a:extLst>
                    <a:ext uri="{9D8B030D-6E8A-4147-A177-3AD203B41FA5}">
                      <a16:colId xmlns:a16="http://schemas.microsoft.com/office/drawing/2014/main" val="921812100"/>
                    </a:ext>
                  </a:extLst>
                </a:gridCol>
                <a:gridCol w="1278413">
                  <a:extLst>
                    <a:ext uri="{9D8B030D-6E8A-4147-A177-3AD203B41FA5}">
                      <a16:colId xmlns:a16="http://schemas.microsoft.com/office/drawing/2014/main" val="4089891530"/>
                    </a:ext>
                  </a:extLst>
                </a:gridCol>
                <a:gridCol w="722048">
                  <a:extLst>
                    <a:ext uri="{9D8B030D-6E8A-4147-A177-3AD203B41FA5}">
                      <a16:colId xmlns:a16="http://schemas.microsoft.com/office/drawing/2014/main" val="1542921772"/>
                    </a:ext>
                  </a:extLst>
                </a:gridCol>
                <a:gridCol w="1276368">
                  <a:extLst>
                    <a:ext uri="{9D8B030D-6E8A-4147-A177-3AD203B41FA5}">
                      <a16:colId xmlns:a16="http://schemas.microsoft.com/office/drawing/2014/main" val="1585417047"/>
                    </a:ext>
                  </a:extLst>
                </a:gridCol>
                <a:gridCol w="1588997">
                  <a:extLst>
                    <a:ext uri="{9D8B030D-6E8A-4147-A177-3AD203B41FA5}">
                      <a16:colId xmlns:a16="http://schemas.microsoft.com/office/drawing/2014/main" val="1856661771"/>
                    </a:ext>
                  </a:extLst>
                </a:gridCol>
                <a:gridCol w="1072673">
                  <a:extLst>
                    <a:ext uri="{9D8B030D-6E8A-4147-A177-3AD203B41FA5}">
                      <a16:colId xmlns:a16="http://schemas.microsoft.com/office/drawing/2014/main" val="890571747"/>
                    </a:ext>
                  </a:extLst>
                </a:gridCol>
                <a:gridCol w="705107">
                  <a:extLst>
                    <a:ext uri="{9D8B030D-6E8A-4147-A177-3AD203B41FA5}">
                      <a16:colId xmlns:a16="http://schemas.microsoft.com/office/drawing/2014/main" val="41579248"/>
                    </a:ext>
                  </a:extLst>
                </a:gridCol>
              </a:tblGrid>
              <a:tr h="404819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Línea de acció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Estad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Aspectos destac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Riesgos </a:t>
                      </a:r>
                      <a:endParaRPr lang="es-ES" sz="1100" b="1" i="0" u="none" strike="noStrike" noProof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Impact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Hitos afect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Próximos pas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Dueñ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Fecha límit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819693"/>
                  </a:ext>
                </a:extLst>
              </a:tr>
              <a:tr h="346988">
                <a:tc>
                  <a:txBody>
                    <a:bodyPr/>
                    <a:lstStyle/>
                    <a:p>
                      <a:pPr marL="0" marR="0" lvl="0" indent="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ES_tradnl" sz="1200" b="1" i="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 Light"/>
                          <a:cs typeface="Calibri Light"/>
                        </a:rPr>
                        <a:t> SPAI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WIP</a:t>
                      </a:r>
                      <a:r>
                        <a:rPr lang="es-ES" sz="1000" b="0" i="0" u="none" strike="no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</a:t>
                      </a:r>
                      <a:r>
                        <a:rPr lang="es-ES" sz="1000" b="0" i="0" u="none" strike="noStrike" baseline="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go</a:t>
                      </a:r>
                      <a:r>
                        <a:rPr lang="es-ES" sz="1000" b="0" i="0" u="none" strike="no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</a:t>
                      </a:r>
                      <a:r>
                        <a:rPr lang="es-ES" sz="1000" b="0" i="0" u="none" strike="noStrike" baseline="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live</a:t>
                      </a:r>
                      <a:r>
                        <a:rPr lang="es-ES" sz="1000" b="0" i="0" u="none" strike="no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y ejecución paralelo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endParaRPr lang="en-US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Go</a:t>
                      </a: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 </a:t>
                      </a:r>
                      <a:r>
                        <a:rPr kumimoji="0" lang="es-ES" sz="1000" b="0" i="0" u="none" strike="noStrike" kern="1200" cap="none" spc="0" normalizeH="0" baseline="0" noProof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live</a:t>
                      </a:r>
                      <a:endParaRPr kumimoji="0" lang="es-ES" sz="10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3399217"/>
                  </a:ext>
                </a:extLst>
              </a:tr>
              <a:tr h="3025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_tradnl" sz="1100" b="1" i="0" u="sng" strike="noStrike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IR Vega</a:t>
                      </a:r>
                      <a:endParaRPr lang="es-ES" sz="1100" b="1" i="0" u="sng" strike="noStrike">
                        <a:solidFill>
                          <a:srgbClr val="000000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Retraso en la fecha de cierre de desarrollo para comienzo de </a:t>
                      </a:r>
                      <a:r>
                        <a:rPr lang="es-ES" sz="1000" b="0" i="0" u="none" strike="noStrike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UATs</a:t>
                      </a:r>
                      <a:r>
                        <a:rPr lang="es-ES" sz="10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 locales</a:t>
                      </a:r>
                      <a:endParaRPr lang="es-ES" sz="1000" b="0" i="0" u="none" strike="noStrike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Wingdings" panose="05000000000000000000" pitchFamily="2" charset="2"/>
                        <a:buNone/>
                      </a:pPr>
                      <a:r>
                        <a:rPr lang="es-ES_tradnl" sz="1000" b="1" i="0" u="none" strike="noStrike" kern="1200">
                          <a:solidFill>
                            <a:srgbClr val="FF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LT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Implementación</a:t>
                      </a: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Lanzamiento </a:t>
                      </a:r>
                      <a:r>
                        <a:rPr lang="es-ES" sz="1000" b="0" i="0" u="none" strike="noStrike" kern="120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UAT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David Alons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Clr>
                          <a:srgbClr val="000000"/>
                        </a:buClr>
                        <a:buFont typeface="Arial,Sans-Serif"/>
                        <a:buNone/>
                      </a:pPr>
                      <a:r>
                        <a:rPr lang="es-ES_tradnl" sz="1000" b="0" i="0" u="none" strike="sng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16/09/2022</a:t>
                      </a:r>
                    </a:p>
                    <a:p>
                      <a:pPr marL="0" lvl="0" indent="0" algn="ctr">
                        <a:buClr>
                          <a:srgbClr val="000000"/>
                        </a:buClr>
                        <a:buFont typeface="Arial,Sans-Serif"/>
                        <a:buNone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30/09/2022</a:t>
                      </a:r>
                      <a:endParaRPr lang="es-ES" sz="1000" b="0" i="0" u="none" strike="sngStrike" baseline="0" noProof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64498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100" b="1" i="0" u="sng" strike="noStrike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CR Delt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Cierre UATS </a:t>
                      </a: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y </a:t>
                      </a:r>
                      <a:r>
                        <a:rPr lang="en-US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documentación</a:t>
                      </a:r>
                      <a:endParaRPr lang="es-ES" sz="1000" b="0" i="0" u="none" strike="noStrike" noProof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s-ES" sz="1000" b="0" i="0" u="none" strike="noStrike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Wingdings" panose="05000000000000000000" pitchFamily="2" charset="2"/>
                        <a:buNone/>
                      </a:pPr>
                      <a:endParaRPr lang="es-ES_tradnl" sz="1000" b="1" i="0" u="none" strike="noStrike" kern="1200">
                        <a:solidFill>
                          <a:srgbClr val="92D05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Entrega a VI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lvl="0" indent="0" algn="ctr">
                        <a:buClr>
                          <a:srgbClr val="000000"/>
                        </a:buClr>
                        <a:buFont typeface="Arial,Sans-Serif"/>
                        <a:buNone/>
                      </a:pPr>
                      <a:r>
                        <a:rPr lang="es-ES" sz="1000" b="0" i="0" u="none" strike="sng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07/10/2022</a:t>
                      </a:r>
                    </a:p>
                    <a:p>
                      <a:pPr marL="0" lvl="0" indent="0" algn="ctr">
                        <a:buClr>
                          <a:srgbClr val="000000"/>
                        </a:buClr>
                        <a:buFont typeface="Arial,Sans-Serif"/>
                        <a:buNone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30/09/2022</a:t>
                      </a:r>
                      <a:endParaRPr lang="es-ES" sz="1000" b="0" i="0" u="none" strike="noStrike" baseline="0" noProof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100" b="1" i="0" u="sng" strike="noStrike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Inflation</a:t>
                      </a:r>
                      <a:r>
                        <a:rPr lang="es-ES" sz="1100" b="1" i="0" u="sng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Delt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Cierre</a:t>
                      </a: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 UATs y </a:t>
                      </a:r>
                      <a:r>
                        <a:rPr lang="en-US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documentación</a:t>
                      </a:r>
                      <a:endParaRPr 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endParaRPr lang="es-ES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endParaRPr lang="es-ES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endParaRPr lang="es-ES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Entrega</a:t>
                      </a:r>
                      <a:r>
                        <a:rPr lang="es-ES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a VI</a:t>
                      </a:r>
                      <a:endParaRPr lang="es-ES" sz="1000" b="0" i="0" u="none" strike="noStrike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258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s-ES" sz="1100" b="1" i="0" u="sng" strike="noStrike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s-ES" sz="1000" b="1" i="0" u="none" strike="noStrike">
                        <a:solidFill>
                          <a:srgbClr val="FFC000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Clr>
                          <a:srgbClr val="000000"/>
                        </a:buClr>
                        <a:buFont typeface="Arial,Sans-Serif"/>
                        <a:buNone/>
                      </a:pPr>
                      <a:r>
                        <a:rPr lang="es-ES_tradnl" sz="1000" b="0" i="0" u="none" strike="sng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09/10/2022</a:t>
                      </a:r>
                    </a:p>
                    <a:p>
                      <a:pPr marL="0" lvl="0" indent="0" algn="ctr">
                        <a:buClr>
                          <a:srgbClr val="000000"/>
                        </a:buClr>
                        <a:buFont typeface="Arial,Sans-Serif"/>
                        <a:buNone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30/09/2022</a:t>
                      </a:r>
                      <a:endParaRPr lang="es-ES" sz="1000" b="0" i="0" u="none" strike="noStrike" baseline="0" noProof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2829724"/>
                  </a:ext>
                </a:extLst>
              </a:tr>
              <a:tr h="302585">
                <a:tc>
                  <a:txBody>
                    <a:bodyPr/>
                    <a:lstStyle/>
                    <a:p>
                      <a:pPr marL="0" marR="0" lvl="0" indent="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ES_tradnl" sz="1200" b="1" i="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 Light"/>
                          <a:cs typeface="Calibri Light"/>
                        </a:rPr>
                        <a:t> PORTUG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WIP</a:t>
                      </a:r>
                      <a:r>
                        <a:rPr lang="es-ES" sz="1000" b="0" i="0" u="none" strike="no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</a:t>
                      </a:r>
                      <a:r>
                        <a:rPr lang="es-ES" sz="1000" b="0" i="0" u="none" strike="noStrike" baseline="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go</a:t>
                      </a:r>
                      <a:r>
                        <a:rPr lang="es-ES" sz="1000" b="0" i="0" u="none" strike="no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</a:t>
                      </a:r>
                      <a:r>
                        <a:rPr lang="es-ES" sz="1000" b="0" i="0" u="none" strike="noStrike" baseline="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live</a:t>
                      </a:r>
                      <a:r>
                        <a:rPr lang="es-ES" sz="1000" b="0" i="0" u="none" strike="no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y ejecución paralelos</a:t>
                      </a:r>
                      <a:endParaRPr lang="es-ES" sz="1000" b="0" i="0" u="none" strike="noStrike" noProof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endParaRPr lang="en-US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Go</a:t>
                      </a: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 </a:t>
                      </a:r>
                      <a:r>
                        <a:rPr kumimoji="0" lang="es-ES" sz="1000" b="0" i="0" u="none" strike="noStrike" kern="1200" cap="none" spc="0" normalizeH="0" baseline="0" noProof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live</a:t>
                      </a:r>
                      <a:endParaRPr kumimoji="0" lang="es-ES" sz="10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Calibri Light"/>
                          <a:cs typeface="Calibri Light"/>
                        </a:rPr>
                        <a:t>Claudia Margarid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96579034"/>
                  </a:ext>
                </a:extLst>
              </a:tr>
              <a:tr h="30258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200" b="1" i="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 Light"/>
                          <a:cs typeface="Calibri Light"/>
                        </a:rPr>
                        <a:t>SLB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WIP guía para el cálculo agregado con Boadilla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WIP </a:t>
                      </a:r>
                      <a:r>
                        <a:rPr lang="es-ES" sz="1000" b="0" i="0" u="none" strike="noStrike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go</a:t>
                      </a: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</a:t>
                      </a:r>
                      <a:r>
                        <a:rPr lang="es-ES" sz="1000" b="0" i="0" u="none" strike="noStrike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live</a:t>
                      </a: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y</a:t>
                      </a:r>
                      <a:r>
                        <a:rPr lang="es-ES" sz="1000" b="0" i="0" u="none" strike="no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 ejecución paralelos</a:t>
                      </a:r>
                      <a:endParaRPr lang="es-ES" sz="1000" b="0" i="0" u="none" strike="noStrike" noProof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s-ES" sz="1000" b="1" i="0" u="none" strike="noStrike" kern="1200" noProof="0">
                        <a:solidFill>
                          <a:srgbClr val="92D050"/>
                        </a:solidFill>
                        <a:effectLst/>
                        <a:latin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 noProof="0">
                        <a:solidFill>
                          <a:schemeClr val="tx1"/>
                        </a:solidFill>
                        <a:effectLst/>
                        <a:latin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</a:rPr>
                        <a:t>Adrian Meneses</a:t>
                      </a:r>
                      <a:endParaRPr lang="es-ES" sz="1000" b="0" i="0" u="none" strike="noStrike" kern="1200" noProof="0">
                        <a:effectLst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Clr>
                          <a:srgbClr val="000000"/>
                        </a:buClr>
                        <a:buFont typeface="Arial,Sans-Serif"/>
                        <a:buNone/>
                      </a:pPr>
                      <a:endParaRPr lang="es-ES" sz="1000" b="0" i="0" u="none" strike="noStrike" baseline="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9479386"/>
                  </a:ext>
                </a:extLst>
              </a:tr>
              <a:tr h="3025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_tradnl" sz="1100" b="1" i="0" u="sng" strike="noStrike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IR Vega</a:t>
                      </a:r>
                      <a:endParaRPr lang="es-ES" sz="1100" b="1" i="0" u="sng" strike="noStrike">
                        <a:solidFill>
                          <a:srgbClr val="000000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Retraso en la fecha de cierre de desarrollo para comienzo de </a:t>
                      </a:r>
                      <a:r>
                        <a:rPr lang="es-ES" sz="1000" b="0" i="0" u="none" strike="noStrike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UATs</a:t>
                      </a:r>
                      <a:r>
                        <a:rPr lang="es-ES" sz="10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 locales</a:t>
                      </a:r>
                      <a:endParaRPr lang="es-ES" sz="1000" b="0" i="0" u="none" strike="noStrike" noProof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_tradnl" sz="1000" b="1" i="0" u="none" strike="noStrike" kern="1200">
                          <a:solidFill>
                            <a:srgbClr val="FF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LTO</a:t>
                      </a:r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Implementación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Lanzamiento </a:t>
                      </a:r>
                      <a:r>
                        <a:rPr lang="es-ES" sz="1000" b="0" i="0" u="none" strike="noStrike" kern="120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UAT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Adrian Menese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000" b="0" i="0" u="none" strike="sng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16/09/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i="0" u="none" strike="noStrike">
                          <a:solidFill>
                            <a:schemeClr val="accent1"/>
                          </a:solidFill>
                          <a:effectLst/>
                          <a:latin typeface="Calibri Light"/>
                          <a:cs typeface="Calibri Light"/>
                        </a:rPr>
                        <a:t>TBD</a:t>
                      </a:r>
                      <a:endParaRPr lang="es-ES" sz="1000" b="0" i="0" u="none" strike="sngStrike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2454414"/>
                  </a:ext>
                </a:extLst>
              </a:tr>
              <a:tr h="3025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100" b="1" i="0" u="sng" strike="noStrike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Inflation</a:t>
                      </a:r>
                      <a:r>
                        <a:rPr lang="es-ES" sz="1100" b="1" i="0" u="sng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Delt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000" b="1" i="0" u="none" strike="noStrike">
                        <a:solidFill>
                          <a:srgbClr val="FFC000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Lanzamiento </a:t>
                      </a:r>
                      <a:r>
                        <a:rPr lang="es-ES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UATs</a:t>
                      </a:r>
                      <a:endParaRPr lang="es-ES" sz="1000" b="0" i="0" u="none" strike="noStrike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 baseline="0" err="1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drian</a:t>
                      </a:r>
                      <a:r>
                        <a:rPr lang="es-ES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Menese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0" i="0" u="none" strike="sng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09/10/2022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1" i="0" u="none" strike="noStrike">
                          <a:solidFill>
                            <a:schemeClr val="accent1"/>
                          </a:solidFill>
                          <a:effectLst/>
                          <a:latin typeface="Calibri Light"/>
                          <a:cs typeface="Calibri Light"/>
                        </a:rPr>
                        <a:t>TBD</a:t>
                      </a:r>
                      <a:endParaRPr lang="es-ES" sz="1000" b="0" i="0" u="none" strike="sngStrike" noProof="0"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2582013"/>
                  </a:ext>
                </a:extLst>
              </a:tr>
              <a:tr h="3450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100" b="1" i="0" u="sng" strike="noStrike" kern="120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Inflation</a:t>
                      </a:r>
                      <a:r>
                        <a:rPr lang="es-ES" sz="1100" b="1" i="0" u="sng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Veg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noProof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 noProof="0">
                        <a:solidFill>
                          <a:schemeClr val="tx1"/>
                        </a:solidFill>
                        <a:effectLst/>
                        <a:latin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s-ES" sz="1000" b="1" i="0" u="none" strike="noStrike">
                        <a:solidFill>
                          <a:srgbClr val="92D050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s-ES" sz="1000" b="0" i="0" u="none" strike="no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</a:rPr>
                        <a:t>Lanzamiento </a:t>
                      </a:r>
                      <a:r>
                        <a:rPr lang="es-ES" sz="1000" b="0" i="0" u="none" strike="noStrike" baseline="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</a:rPr>
                        <a:t>UATs</a:t>
                      </a:r>
                      <a:endParaRPr lang="es-ES" sz="1000" b="0" i="0" u="none" strike="noStrike" baseline="0" noProof="0" err="1"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 baseline="0" err="1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drian</a:t>
                      </a:r>
                      <a:r>
                        <a:rPr lang="es-ES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Menese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sng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10/09/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i="0" u="none" strike="noStrike">
                          <a:solidFill>
                            <a:schemeClr val="accent1"/>
                          </a:solidFill>
                          <a:effectLst/>
                          <a:latin typeface="Calibri Light"/>
                          <a:cs typeface="Calibri Light"/>
                        </a:rPr>
                        <a:t>TBD</a:t>
                      </a:r>
                      <a:endParaRPr lang="es-ES" sz="1000" b="0" i="0" u="none" strike="sngStrike" kern="120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90988015"/>
                  </a:ext>
                </a:extLst>
              </a:tr>
            </a:tbl>
          </a:graphicData>
        </a:graphic>
      </p:graphicFrame>
      <p:sp>
        <p:nvSpPr>
          <p:cNvPr id="8" name="Flecha abajo 30">
            <a:extLst>
              <a:ext uri="{FF2B5EF4-FFF2-40B4-BE49-F238E27FC236}">
                <a16:creationId xmlns:a16="http://schemas.microsoft.com/office/drawing/2014/main" id="{0343E56A-E2FE-47F6-9B23-3B9EE9ECEA08}"/>
              </a:ext>
            </a:extLst>
          </p:cNvPr>
          <p:cNvSpPr/>
          <p:nvPr/>
        </p:nvSpPr>
        <p:spPr>
          <a:xfrm rot="16200000">
            <a:off x="10850394" y="-181510"/>
            <a:ext cx="188435" cy="11880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Text Box 10">
            <a:extLst>
              <a:ext uri="{FF2B5EF4-FFF2-40B4-BE49-F238E27FC236}">
                <a16:creationId xmlns:a16="http://schemas.microsoft.com/office/drawing/2014/main" id="{08EB2379-C8B6-4F8B-9EA3-AD981839B1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52735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1</a:t>
            </a:r>
          </a:p>
        </p:txBody>
      </p:sp>
      <p:sp>
        <p:nvSpPr>
          <p:cNvPr id="10" name="Text Box 10">
            <a:extLst>
              <a:ext uri="{FF2B5EF4-FFF2-40B4-BE49-F238E27FC236}">
                <a16:creationId xmlns:a16="http://schemas.microsoft.com/office/drawing/2014/main" id="{FAAA26E9-0115-438B-B122-877BE9DE00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95673" y="233676"/>
            <a:ext cx="360000" cy="360000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2</a:t>
            </a:r>
            <a:endParaRPr lang="en-US"/>
          </a:p>
        </p:txBody>
      </p:sp>
      <p:sp>
        <p:nvSpPr>
          <p:cNvPr id="11" name="Text Box 10">
            <a:extLst>
              <a:ext uri="{FF2B5EF4-FFF2-40B4-BE49-F238E27FC236}">
                <a16:creationId xmlns:a16="http://schemas.microsoft.com/office/drawing/2014/main" id="{896BDA76-1FE0-4969-A9D1-0D4E5B4506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8612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marL="0" marR="0" lvl="0" indent="0" algn="ctr" defTabSz="957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B2CA6B-F932-46CE-ACF8-098CB0737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11577" y="515588"/>
            <a:ext cx="1728192" cy="426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36000" tIns="45671" rIns="36000" bIns="45671" anchor="ctr"/>
          <a:lstStyle/>
          <a:p>
            <a:pPr algn="ctr" defTabSz="914377">
              <a:defRPr/>
            </a:pPr>
            <a:r>
              <a:rPr lang="es-ES" sz="1200" b="1" kern="0" cap="small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TADO A 29.09.2022</a:t>
            </a:r>
            <a:endParaRPr lang="es-ES" sz="1200" kern="0" cap="small">
              <a:ea typeface="+mn-lt"/>
              <a:cs typeface="+mn-lt"/>
            </a:endParaRPr>
          </a:p>
        </p:txBody>
      </p:sp>
      <p:sp>
        <p:nvSpPr>
          <p:cNvPr id="13" name="TituloSlide">
            <a:extLst>
              <a:ext uri="{FF2B5EF4-FFF2-40B4-BE49-F238E27FC236}">
                <a16:creationId xmlns:a16="http://schemas.microsoft.com/office/drawing/2014/main" id="{A32E98AC-E92F-48E9-8018-3DE7B1EF480A}"/>
              </a:ext>
            </a:extLst>
          </p:cNvPr>
          <p:cNvSpPr txBox="1">
            <a:spLocks/>
          </p:cNvSpPr>
          <p:nvPr/>
        </p:nvSpPr>
        <p:spPr>
          <a:xfrm>
            <a:off x="669432" y="290771"/>
            <a:ext cx="10695254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sz="2800">
                <a:solidFill>
                  <a:srgbClr val="EB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 Risk Advanced Platform</a:t>
            </a:r>
            <a:endParaRPr lang="en-029" sz="2800">
              <a:solidFill>
                <a:srgbClr val="EB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sz="200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VAs AVAs Statu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A2D87D1-00B3-4FEB-AB4A-A752921D8BCC}"/>
              </a:ext>
            </a:extLst>
          </p:cNvPr>
          <p:cNvGrpSpPr/>
          <p:nvPr/>
        </p:nvGrpSpPr>
        <p:grpSpPr>
          <a:xfrm>
            <a:off x="5056297" y="6474002"/>
            <a:ext cx="6451802" cy="369332"/>
            <a:chOff x="5056297" y="6382562"/>
            <a:chExt cx="6451802" cy="369332"/>
          </a:xfrm>
        </p:grpSpPr>
        <p:sp>
          <p:nvSpPr>
            <p:cNvPr id="15" name="Rectangle 11">
              <a:extLst>
                <a:ext uri="{FF2B5EF4-FFF2-40B4-BE49-F238E27FC236}">
                  <a16:creationId xmlns:a16="http://schemas.microsoft.com/office/drawing/2014/main" id="{488CD56B-1054-43E5-9D5C-A37D04CCB6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8556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ompleted</a:t>
              </a:r>
            </a:p>
          </p:txBody>
        </p:sp>
        <p:sp>
          <p:nvSpPr>
            <p:cNvPr id="16" name="Rectangle 11">
              <a:extLst>
                <a:ext uri="{FF2B5EF4-FFF2-40B4-BE49-F238E27FC236}">
                  <a16:creationId xmlns:a16="http://schemas.microsoft.com/office/drawing/2014/main" id="{E99C430C-A916-41EB-B79D-7DD18737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8299" y="6454663"/>
              <a:ext cx="750152" cy="191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ery delayed 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≥ 30%)</a:t>
              </a:r>
            </a:p>
          </p:txBody>
        </p:sp>
        <p:sp>
          <p:nvSpPr>
            <p:cNvPr id="17" name="Rectangle 11">
              <a:extLst>
                <a:ext uri="{FF2B5EF4-FFF2-40B4-BE49-F238E27FC236}">
                  <a16:creationId xmlns:a16="http://schemas.microsoft.com/office/drawing/2014/main" id="{BC3C6B53-5601-4EBB-956A-905277EAA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1732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o be started</a:t>
              </a:r>
            </a:p>
          </p:txBody>
        </p:sp>
        <p:sp>
          <p:nvSpPr>
            <p:cNvPr id="18" name="Rectangle 11">
              <a:extLst>
                <a:ext uri="{FF2B5EF4-FFF2-40B4-BE49-F238E27FC236}">
                  <a16:creationId xmlns:a16="http://schemas.microsoft.com/office/drawing/2014/main" id="{45F76314-4B3D-4419-984D-8E5C36E13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06236" y="6455802"/>
              <a:ext cx="801863" cy="199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 Risk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Issues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Dependencies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ED1273B-E7B0-4FAC-BC68-E451FEF6DB57}"/>
                </a:ext>
              </a:extLst>
            </p:cNvPr>
            <p:cNvSpPr txBox="1"/>
            <p:nvPr/>
          </p:nvSpPr>
          <p:spPr>
            <a:xfrm>
              <a:off x="5056297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1656D99-B3BC-4355-9C30-88E96341FA92}"/>
                </a:ext>
              </a:extLst>
            </p:cNvPr>
            <p:cNvSpPr txBox="1"/>
            <p:nvPr/>
          </p:nvSpPr>
          <p:spPr>
            <a:xfrm>
              <a:off x="586576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1" name="Rectangle 11">
              <a:extLst>
                <a:ext uri="{FF2B5EF4-FFF2-40B4-BE49-F238E27FC236}">
                  <a16:creationId xmlns:a16="http://schemas.microsoft.com/office/drawing/2014/main" id="{67E4E9B0-0B42-4BBF-9281-17DE81F20F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2909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elayed / Slightly delayed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1578F9A-798F-4B55-B38B-1328AFB0A4F2}"/>
                </a:ext>
              </a:extLst>
            </p:cNvPr>
            <p:cNvSpPr txBox="1"/>
            <p:nvPr/>
          </p:nvSpPr>
          <p:spPr>
            <a:xfrm>
              <a:off x="6865731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E5AB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E5AB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3" name="Rectangle 11">
              <a:extLst>
                <a:ext uri="{FF2B5EF4-FFF2-40B4-BE49-F238E27FC236}">
                  <a16:creationId xmlns:a16="http://schemas.microsoft.com/office/drawing/2014/main" id="{2BF08683-27BB-4B58-8433-88E7BDDF38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8838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On time / Ahead of plan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921E44C-2D94-40D1-90D7-E27B5E891C19}"/>
                </a:ext>
              </a:extLst>
            </p:cNvPr>
            <p:cNvSpPr txBox="1"/>
            <p:nvPr/>
          </p:nvSpPr>
          <p:spPr>
            <a:xfrm>
              <a:off x="8261938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F299F7BD-E74F-439A-96D8-DCBD1015D7A7}"/>
                </a:ext>
              </a:extLst>
            </p:cNvPr>
            <p:cNvSpPr txBox="1"/>
            <p:nvPr/>
          </p:nvSpPr>
          <p:spPr>
            <a:xfrm>
              <a:off x="971910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478C487-89B5-429A-9186-362BDF54E368}"/>
              </a:ext>
            </a:extLst>
          </p:cNvPr>
          <p:cNvSpPr txBox="1"/>
          <p:nvPr/>
        </p:nvSpPr>
        <p:spPr>
          <a:xfrm>
            <a:off x="373500" y="99354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Local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Assessment</a:t>
            </a: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 &amp; Inputs</a:t>
            </a:r>
          </a:p>
        </p:txBody>
      </p:sp>
    </p:spTree>
    <p:extLst>
      <p:ext uri="{BB962C8B-B14F-4D97-AF65-F5344CB8AC3E}">
        <p14:creationId xmlns:p14="http://schemas.microsoft.com/office/powerpoint/2010/main" val="23860975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32906022-4698-44F1-AC4E-A5A0CC39F6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9658537"/>
              </p:ext>
            </p:extLst>
          </p:nvPr>
        </p:nvGraphicFramePr>
        <p:xfrm>
          <a:off x="373499" y="1208806"/>
          <a:ext cx="11369321" cy="4980003"/>
        </p:xfrm>
        <a:graphic>
          <a:graphicData uri="http://schemas.openxmlformats.org/drawingml/2006/table">
            <a:tbl>
              <a:tblPr/>
              <a:tblGrid>
                <a:gridCol w="10894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3903">
                  <a:extLst>
                    <a:ext uri="{9D8B030D-6E8A-4147-A177-3AD203B41FA5}">
                      <a16:colId xmlns:a16="http://schemas.microsoft.com/office/drawing/2014/main" val="384561633"/>
                    </a:ext>
                  </a:extLst>
                </a:gridCol>
                <a:gridCol w="2977062">
                  <a:extLst>
                    <a:ext uri="{9D8B030D-6E8A-4147-A177-3AD203B41FA5}">
                      <a16:colId xmlns:a16="http://schemas.microsoft.com/office/drawing/2014/main" val="921812100"/>
                    </a:ext>
                  </a:extLst>
                </a:gridCol>
                <a:gridCol w="1514168">
                  <a:extLst>
                    <a:ext uri="{9D8B030D-6E8A-4147-A177-3AD203B41FA5}">
                      <a16:colId xmlns:a16="http://schemas.microsoft.com/office/drawing/2014/main" val="4089891530"/>
                    </a:ext>
                  </a:extLst>
                </a:gridCol>
                <a:gridCol w="619432">
                  <a:extLst>
                    <a:ext uri="{9D8B030D-6E8A-4147-A177-3AD203B41FA5}">
                      <a16:colId xmlns:a16="http://schemas.microsoft.com/office/drawing/2014/main" val="1542921772"/>
                    </a:ext>
                  </a:extLst>
                </a:gridCol>
                <a:gridCol w="1356852">
                  <a:extLst>
                    <a:ext uri="{9D8B030D-6E8A-4147-A177-3AD203B41FA5}">
                      <a16:colId xmlns:a16="http://schemas.microsoft.com/office/drawing/2014/main" val="1585417047"/>
                    </a:ext>
                  </a:extLst>
                </a:gridCol>
                <a:gridCol w="1661652">
                  <a:extLst>
                    <a:ext uri="{9D8B030D-6E8A-4147-A177-3AD203B41FA5}">
                      <a16:colId xmlns:a16="http://schemas.microsoft.com/office/drawing/2014/main" val="1856661771"/>
                    </a:ext>
                  </a:extLst>
                </a:gridCol>
                <a:gridCol w="843122">
                  <a:extLst>
                    <a:ext uri="{9D8B030D-6E8A-4147-A177-3AD203B41FA5}">
                      <a16:colId xmlns:a16="http://schemas.microsoft.com/office/drawing/2014/main" val="890571747"/>
                    </a:ext>
                  </a:extLst>
                </a:gridCol>
                <a:gridCol w="703646">
                  <a:extLst>
                    <a:ext uri="{9D8B030D-6E8A-4147-A177-3AD203B41FA5}">
                      <a16:colId xmlns:a16="http://schemas.microsoft.com/office/drawing/2014/main" val="41579248"/>
                    </a:ext>
                  </a:extLst>
                </a:gridCol>
              </a:tblGrid>
              <a:tr h="3744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Línea de acció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Estad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Aspectos destac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Riesgos </a:t>
                      </a:r>
                      <a:endParaRPr lang="es-ES" sz="1100" b="1" i="0" u="none" strike="noStrike" noProof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Impact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Hitos afect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Próximos pas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Dueñ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Fecha límit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819693"/>
                  </a:ext>
                </a:extLst>
              </a:tr>
              <a:tr h="8139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200" b="1" i="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 Light"/>
                          <a:cs typeface="Calibri Light"/>
                        </a:rPr>
                        <a:t>BRAZIL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WIP Data </a:t>
                      </a:r>
                      <a:r>
                        <a:rPr lang="es-ES" sz="1000" b="0" i="0" u="none" strike="noStrike" kern="1200" baseline="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Quality</a:t>
                      </a:r>
                      <a:r>
                        <a:rPr lang="es-E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 GER</a:t>
                      </a:r>
                      <a:endParaRPr lang="en-US" sz="1000" b="0" i="0" u="none" strike="noStrike" kern="1200" baseline="0" noProof="0">
                        <a:effectLst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Insuficiencia datos IPV</a:t>
                      </a:r>
                    </a:p>
                    <a:p>
                      <a:pPr marL="171450" lvl="0" indent="-171450">
                        <a:buFont typeface="Arial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Retrasos </a:t>
                      </a:r>
                      <a:r>
                        <a:rPr lang="es-E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ssessment</a:t>
                      </a: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e implementació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000" b="1" i="0" u="none" strike="noStrike" kern="1200">
                          <a:solidFill>
                            <a:srgbClr val="FF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LT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ssessment</a:t>
                      </a: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 e implementació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Revisión con equipo de proyecto la nueva propuesta de calendario local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3399217"/>
                  </a:ext>
                </a:extLst>
              </a:tr>
              <a:tr h="732556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</a:pPr>
                      <a:r>
                        <a:rPr lang="es-ES" sz="1100" b="1" i="0" u="sng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Bonos </a:t>
                      </a:r>
                      <a:r>
                        <a:rPr lang="es-ES" sz="1100" b="0" i="0" u="sng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(Privados + NTNA)</a:t>
                      </a:r>
                      <a:endParaRPr lang="en-US" b="0">
                        <a:latin typeface="Calibri Light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WIP </a:t>
                      </a: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inclusión</a:t>
                      </a: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bonos off-shore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WIP ejecución de paralelo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Revisión exención de </a:t>
                      </a:r>
                      <a:r>
                        <a:rPr lang="es-E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lockup</a:t>
                      </a: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</a:t>
                      </a:r>
                      <a:r>
                        <a:rPr lang="es-E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period</a:t>
                      </a: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</a:t>
                      </a:r>
                      <a:r>
                        <a:rPr lang="es-E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bonds</a:t>
                      </a:r>
                      <a:endParaRPr lang="es-E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Wingdings" panose="05000000000000000000" pitchFamily="2" charset="2"/>
                        <a:buNone/>
                      </a:pPr>
                      <a:r>
                        <a:rPr lang="es-ES_tradnl" sz="1000" b="1" i="0" u="none" strike="noStrike" kern="1200">
                          <a:solidFill>
                            <a:srgbClr val="FFC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MEDI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Implementación local y desarrollo de </a:t>
                      </a:r>
                      <a:r>
                        <a:rPr lang="es-ES" sz="1000" b="0" i="0" u="none" strike="noStrike" kern="1200" baseline="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UATs</a:t>
                      </a: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Revisión </a:t>
                      </a:r>
                      <a:r>
                        <a:rPr lang="es-ES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lockup</a:t>
                      </a: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y bonos </a:t>
                      </a:r>
                      <a:r>
                        <a:rPr lang="es-ES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iliquidos</a:t>
                      </a:r>
                      <a:endParaRPr lang="es-ES" sz="1000" b="0" i="0" u="none" strike="noStrike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P. Kriszhaber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31/10/2022</a:t>
                      </a:r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138944"/>
                  </a:ext>
                </a:extLst>
              </a:tr>
              <a:tr h="1025577">
                <a:tc>
                  <a:txBody>
                    <a:bodyPr/>
                    <a:lstStyle/>
                    <a:p>
                      <a:r>
                        <a:rPr lang="es-ES_tradnl" sz="1100" b="1" i="0" u="sng" strike="noStrike" kern="120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Concentration</a:t>
                      </a:r>
                      <a:endParaRPr lang="en-US" sz="1100" b="1" i="0" u="sng" strike="noStrike" kern="1200">
                        <a:solidFill>
                          <a:srgbClr val="000000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45720" marR="45720" anchor="ctr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_tradnl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WIP validación resultados para bonos privados y bonos públicos con exencione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_tradnl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WIP validación impactos de reclasificación NTNA a FV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_tradnl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WIP </a:t>
                      </a:r>
                      <a:r>
                        <a:rPr lang="es-ES_tradnl" sz="1000" b="0" i="0" u="none" strike="noStrike" kern="120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UATs</a:t>
                      </a:r>
                      <a:r>
                        <a:rPr lang="es-ES_tradnl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para bonos público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_tradnl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WIP calibración porcentaje de acceso al mercado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Exención LCR aprobada (incorporada</a:t>
                      </a:r>
                      <a:r>
                        <a:rPr lang="es-E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en estándares).</a:t>
                      </a:r>
                      <a:endParaRPr lang="es-E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utomatización</a:t>
                      </a:r>
                      <a:r>
                        <a:rPr lang="es-E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de la generación de </a:t>
                      </a:r>
                      <a:r>
                        <a:rPr lang="es-ES" sz="1000" b="0" i="0" u="none" strike="noStrike" kern="1200" baseline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std</a:t>
                      </a:r>
                      <a:r>
                        <a:rPr lang="es-E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e </a:t>
                      </a:r>
                      <a:r>
                        <a:rPr lang="es-ES" sz="1000" b="0" i="0" u="none" strike="noStrike" kern="1200" baseline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issues</a:t>
                      </a:r>
                      <a:r>
                        <a:rPr lang="es-E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en data </a:t>
                      </a:r>
                      <a:r>
                        <a:rPr lang="es-ES" sz="1000" b="0" i="0" u="none" strike="noStrike" kern="1200" baseline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quality</a:t>
                      </a:r>
                      <a:endParaRPr lang="es-ES"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Wingdings" panose="05000000000000000000" pitchFamily="2" charset="2"/>
                        <a:buNone/>
                      </a:pPr>
                      <a:r>
                        <a:rPr lang="es-ES_tradnl" sz="1000" b="1" i="0" u="none" strike="noStrike" kern="1200">
                          <a:solidFill>
                            <a:srgbClr val="FFC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MEDIO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Implementación local y desarrollo de </a:t>
                      </a:r>
                      <a:r>
                        <a:rPr lang="es-ES" sz="1000" b="0" i="0" u="none" strike="noStrike" kern="1200" baseline="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UATs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</a:rPr>
                        <a:t>Sign</a:t>
                      </a: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</a:rPr>
                        <a:t>-off (</a:t>
                      </a:r>
                      <a:r>
                        <a:rPr lang="es-ES" sz="1000" b="0" i="0" u="none" strike="noStrike" kern="1200" baseline="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</a:rPr>
                        <a:t>privados+públicos</a:t>
                      </a: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</a:rPr>
                        <a:t>)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P. </a:t>
                      </a:r>
                      <a:r>
                        <a:rPr lang="es-ES" sz="1000" b="0" i="0" u="none" strike="noStrike" kern="1200" baseline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Kriszhaber</a:t>
                      </a:r>
                      <a:endParaRPr lang="es-ES"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25/10/2022</a:t>
                      </a: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85356000"/>
                  </a:ext>
                </a:extLst>
              </a:tr>
              <a:tr h="117208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</a:pPr>
                      <a:r>
                        <a:rPr lang="es-ES" sz="1100" b="1" i="0" u="sng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Inflation</a:t>
                      </a:r>
                      <a:r>
                        <a:rPr lang="es-ES" sz="1100" b="1" i="0" u="sng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Delta 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</a:pPr>
                      <a:r>
                        <a:rPr lang="es-ES" sz="1100" b="0" i="0" u="sng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(+NTNC+NTNB bond)</a:t>
                      </a:r>
                    </a:p>
                  </a:txBody>
                  <a:tcPr marL="45720" marR="45720" anchor="ctr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IPV táctico definido para presentar a IV: WIP n</a:t>
                      </a:r>
                      <a:r>
                        <a:rPr lang="es-E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/>
                        </a:rPr>
                        <a:t>ueva propuesta proxy IGPM y NTNC.</a:t>
                      </a:r>
                      <a:endParaRPr lang="en-US"/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Obtención</a:t>
                      </a:r>
                      <a:r>
                        <a:rPr lang="es-ES" sz="1000" b="0" i="0" u="none" strike="no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de IPV alineada con metodología corporativa (igual que IR Delta)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No disponibilidad  de IPV para IGPM ni NTNC: Proxy a IPCA y NTNB  de forma táctica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 Light"/>
                        </a:rPr>
                        <a:t>ALTO</a:t>
                      </a:r>
                      <a:endParaRPr kumimoji="0" lang="en-US"/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Envío a validación interna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Cierre y validación propuesta IPV IGPM y NTNC</a:t>
                      </a:r>
                      <a:endParaRPr lang="en-US"/>
                    </a:p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Envío a validación interna (IGPM+NTNC)</a:t>
                      </a:r>
                    </a:p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Validación IPV usuario</a:t>
                      </a:r>
                    </a:p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Actualizar documentación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P. </a:t>
                      </a:r>
                      <a:r>
                        <a:rPr lang="es-ES" sz="1000" b="0" i="0" u="none" strike="noStrike" kern="1200" baseline="0" err="1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Kriszhaber</a:t>
                      </a:r>
                      <a:endParaRPr lang="es-ES"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s-ES" sz="1000" b="0" i="0" u="none" strike="sng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15/09/2022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1" i="0" u="none" strike="noStrike" noProof="0">
                          <a:solidFill>
                            <a:schemeClr val="accent1"/>
                          </a:solidFill>
                          <a:effectLst/>
                          <a:latin typeface="Calibri Light"/>
                        </a:rPr>
                        <a:t>TBC</a:t>
                      </a:r>
                      <a:endParaRPr lang="es-ES" sz="1000" b="0" i="0" u="none" strike="noStrike" noProof="0">
                        <a:effectLst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23363860"/>
                  </a:ext>
                </a:extLst>
              </a:tr>
              <a:tr h="7325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100" b="1" i="0" u="sng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FX Vega</a:t>
                      </a:r>
                    </a:p>
                  </a:txBody>
                  <a:tcPr marL="45720" marR="45720" anchor="ctr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n-US">
                        <a:solidFill>
                          <a:srgbClr val="FFFF00"/>
                        </a:solidFill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WIP revisión de resultados.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WIP documentación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WIP ejecución UAT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Solución estratégica: homologación de sensibilidades a estructuras por el SQUAD el 15/10</a:t>
                      </a:r>
                      <a:endParaRPr lang="en-US"/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_tradnl" sz="1000" b="1" i="0" u="none" strike="noStrike" kern="1200">
                          <a:solidFill>
                            <a:srgbClr val="FFC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MEDIO</a:t>
                      </a:r>
                      <a:endParaRPr kumimoji="0" lang="es-ES_tradnl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_tradnl" sz="1000" b="0" i="0" u="none" strike="noStrike" kern="1200" baseline="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ssessment</a:t>
                      </a:r>
                      <a:r>
                        <a:rPr lang="es-ES_tradnl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e implementación local</a:t>
                      </a: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_tradnl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Sign</a:t>
                      </a:r>
                      <a:r>
                        <a:rPr lang="es-ES_tradnl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-off</a:t>
                      </a:r>
                      <a:endParaRPr lang="en-US"/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P. </a:t>
                      </a:r>
                      <a:r>
                        <a:rPr lang="es-ES" sz="1000" b="0" i="0" u="none" strike="noStrike" kern="1200" baseline="0" err="1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Kriszhaber</a:t>
                      </a:r>
                      <a:endParaRPr lang="es-ES"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30/09/2022</a:t>
                      </a:r>
                      <a:endParaRPr lang="es-ES" sz="1000" b="1" i="0" u="none" strike="noStrike" baseline="0" noProof="0">
                        <a:solidFill>
                          <a:schemeClr val="accent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15279462"/>
                  </a:ext>
                </a:extLst>
              </a:tr>
            </a:tbl>
          </a:graphicData>
        </a:graphic>
      </p:graphicFrame>
      <p:sp>
        <p:nvSpPr>
          <p:cNvPr id="8" name="Flecha abajo 30">
            <a:extLst>
              <a:ext uri="{FF2B5EF4-FFF2-40B4-BE49-F238E27FC236}">
                <a16:creationId xmlns:a16="http://schemas.microsoft.com/office/drawing/2014/main" id="{0343E56A-E2FE-47F6-9B23-3B9EE9ECEA08}"/>
              </a:ext>
            </a:extLst>
          </p:cNvPr>
          <p:cNvSpPr/>
          <p:nvPr/>
        </p:nvSpPr>
        <p:spPr>
          <a:xfrm rot="16200000">
            <a:off x="10850394" y="-181510"/>
            <a:ext cx="188435" cy="11880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Text Box 10">
            <a:extLst>
              <a:ext uri="{FF2B5EF4-FFF2-40B4-BE49-F238E27FC236}">
                <a16:creationId xmlns:a16="http://schemas.microsoft.com/office/drawing/2014/main" id="{08EB2379-C8B6-4F8B-9EA3-AD981839B1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52735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1</a:t>
            </a:r>
          </a:p>
        </p:txBody>
      </p:sp>
      <p:sp>
        <p:nvSpPr>
          <p:cNvPr id="10" name="Text Box 10">
            <a:extLst>
              <a:ext uri="{FF2B5EF4-FFF2-40B4-BE49-F238E27FC236}">
                <a16:creationId xmlns:a16="http://schemas.microsoft.com/office/drawing/2014/main" id="{FAAA26E9-0115-438B-B122-877BE9DE00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95673" y="233676"/>
            <a:ext cx="360000" cy="360000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2</a:t>
            </a:r>
            <a:endParaRPr lang="en-US"/>
          </a:p>
        </p:txBody>
      </p:sp>
      <p:sp>
        <p:nvSpPr>
          <p:cNvPr id="11" name="Text Box 10">
            <a:extLst>
              <a:ext uri="{FF2B5EF4-FFF2-40B4-BE49-F238E27FC236}">
                <a16:creationId xmlns:a16="http://schemas.microsoft.com/office/drawing/2014/main" id="{896BDA76-1FE0-4969-A9D1-0D4E5B4506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8612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marL="0" marR="0" lvl="0" indent="0" algn="ctr" defTabSz="957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B2CA6B-F932-46CE-ACF8-098CB0737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11577" y="515588"/>
            <a:ext cx="1728192" cy="426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36000" tIns="45671" rIns="36000" bIns="45671" anchor="ctr"/>
          <a:lstStyle/>
          <a:p>
            <a:pPr algn="ctr" defTabSz="914377">
              <a:defRPr/>
            </a:pPr>
            <a:r>
              <a:rPr lang="es-ES" sz="1200" b="1" kern="0" cap="small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TADO A 29.09.2022</a:t>
            </a:r>
            <a:endParaRPr lang="es-ES" sz="1200" kern="0" cap="small">
              <a:ea typeface="+mn-lt"/>
              <a:cs typeface="+mn-lt"/>
            </a:endParaRPr>
          </a:p>
        </p:txBody>
      </p:sp>
      <p:sp>
        <p:nvSpPr>
          <p:cNvPr id="13" name="TituloSlide">
            <a:extLst>
              <a:ext uri="{FF2B5EF4-FFF2-40B4-BE49-F238E27FC236}">
                <a16:creationId xmlns:a16="http://schemas.microsoft.com/office/drawing/2014/main" id="{A32E98AC-E92F-48E9-8018-3DE7B1EF480A}"/>
              </a:ext>
            </a:extLst>
          </p:cNvPr>
          <p:cNvSpPr txBox="1">
            <a:spLocks/>
          </p:cNvSpPr>
          <p:nvPr/>
        </p:nvSpPr>
        <p:spPr>
          <a:xfrm>
            <a:off x="669432" y="290771"/>
            <a:ext cx="10695254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sz="2800">
                <a:solidFill>
                  <a:srgbClr val="EB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 Risk Advanced Platform</a:t>
            </a:r>
            <a:endParaRPr lang="en-029" sz="2800">
              <a:solidFill>
                <a:srgbClr val="EB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sz="200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VAs AVAs Statu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A2D87D1-00B3-4FEB-AB4A-A752921D8BCC}"/>
              </a:ext>
            </a:extLst>
          </p:cNvPr>
          <p:cNvGrpSpPr/>
          <p:nvPr/>
        </p:nvGrpSpPr>
        <p:grpSpPr>
          <a:xfrm>
            <a:off x="5056297" y="6474002"/>
            <a:ext cx="6451802" cy="369332"/>
            <a:chOff x="5056297" y="6382562"/>
            <a:chExt cx="6451802" cy="369332"/>
          </a:xfrm>
        </p:grpSpPr>
        <p:sp>
          <p:nvSpPr>
            <p:cNvPr id="15" name="Rectangle 11">
              <a:extLst>
                <a:ext uri="{FF2B5EF4-FFF2-40B4-BE49-F238E27FC236}">
                  <a16:creationId xmlns:a16="http://schemas.microsoft.com/office/drawing/2014/main" id="{488CD56B-1054-43E5-9D5C-A37D04CCB6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8556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ompleted</a:t>
              </a:r>
            </a:p>
          </p:txBody>
        </p:sp>
        <p:sp>
          <p:nvSpPr>
            <p:cNvPr id="16" name="Rectangle 11">
              <a:extLst>
                <a:ext uri="{FF2B5EF4-FFF2-40B4-BE49-F238E27FC236}">
                  <a16:creationId xmlns:a16="http://schemas.microsoft.com/office/drawing/2014/main" id="{E99C430C-A916-41EB-B79D-7DD18737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8299" y="6454663"/>
              <a:ext cx="750152" cy="191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ery delayed 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≥ 30%)</a:t>
              </a:r>
            </a:p>
          </p:txBody>
        </p:sp>
        <p:sp>
          <p:nvSpPr>
            <p:cNvPr id="17" name="Rectangle 11">
              <a:extLst>
                <a:ext uri="{FF2B5EF4-FFF2-40B4-BE49-F238E27FC236}">
                  <a16:creationId xmlns:a16="http://schemas.microsoft.com/office/drawing/2014/main" id="{BC3C6B53-5601-4EBB-956A-905277EAA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1732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o be started</a:t>
              </a:r>
            </a:p>
          </p:txBody>
        </p:sp>
        <p:sp>
          <p:nvSpPr>
            <p:cNvPr id="18" name="Rectangle 11">
              <a:extLst>
                <a:ext uri="{FF2B5EF4-FFF2-40B4-BE49-F238E27FC236}">
                  <a16:creationId xmlns:a16="http://schemas.microsoft.com/office/drawing/2014/main" id="{45F76314-4B3D-4419-984D-8E5C36E13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06236" y="6455802"/>
              <a:ext cx="801863" cy="199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 Risk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Issues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Dependencies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ED1273B-E7B0-4FAC-BC68-E451FEF6DB57}"/>
                </a:ext>
              </a:extLst>
            </p:cNvPr>
            <p:cNvSpPr txBox="1"/>
            <p:nvPr/>
          </p:nvSpPr>
          <p:spPr>
            <a:xfrm>
              <a:off x="5056297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1656D99-B3BC-4355-9C30-88E96341FA92}"/>
                </a:ext>
              </a:extLst>
            </p:cNvPr>
            <p:cNvSpPr txBox="1"/>
            <p:nvPr/>
          </p:nvSpPr>
          <p:spPr>
            <a:xfrm>
              <a:off x="586576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1" name="Rectangle 11">
              <a:extLst>
                <a:ext uri="{FF2B5EF4-FFF2-40B4-BE49-F238E27FC236}">
                  <a16:creationId xmlns:a16="http://schemas.microsoft.com/office/drawing/2014/main" id="{67E4E9B0-0B42-4BBF-9281-17DE81F20F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2909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elayed / Slightly delayed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1578F9A-798F-4B55-B38B-1328AFB0A4F2}"/>
                </a:ext>
              </a:extLst>
            </p:cNvPr>
            <p:cNvSpPr txBox="1"/>
            <p:nvPr/>
          </p:nvSpPr>
          <p:spPr>
            <a:xfrm>
              <a:off x="6865731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E5AB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E5AB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3" name="Rectangle 11">
              <a:extLst>
                <a:ext uri="{FF2B5EF4-FFF2-40B4-BE49-F238E27FC236}">
                  <a16:creationId xmlns:a16="http://schemas.microsoft.com/office/drawing/2014/main" id="{2BF08683-27BB-4B58-8433-88E7BDDF38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8838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On time / Ahead of plan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921E44C-2D94-40D1-90D7-E27B5E891C19}"/>
                </a:ext>
              </a:extLst>
            </p:cNvPr>
            <p:cNvSpPr txBox="1"/>
            <p:nvPr/>
          </p:nvSpPr>
          <p:spPr>
            <a:xfrm>
              <a:off x="8261938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F299F7BD-E74F-439A-96D8-DCBD1015D7A7}"/>
                </a:ext>
              </a:extLst>
            </p:cNvPr>
            <p:cNvSpPr txBox="1"/>
            <p:nvPr/>
          </p:nvSpPr>
          <p:spPr>
            <a:xfrm>
              <a:off x="971910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478C487-89B5-429A-9186-362BDF54E368}"/>
              </a:ext>
            </a:extLst>
          </p:cNvPr>
          <p:cNvSpPr txBox="1"/>
          <p:nvPr/>
        </p:nvSpPr>
        <p:spPr>
          <a:xfrm>
            <a:off x="373500" y="924722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Local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Assessment</a:t>
            </a: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 &amp; Inputs</a:t>
            </a:r>
          </a:p>
        </p:txBody>
      </p:sp>
    </p:spTree>
    <p:extLst>
      <p:ext uri="{BB962C8B-B14F-4D97-AF65-F5344CB8AC3E}">
        <p14:creationId xmlns:p14="http://schemas.microsoft.com/office/powerpoint/2010/main" val="30780965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32906022-4698-44F1-AC4E-A5A0CC39F6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6847037"/>
              </p:ext>
            </p:extLst>
          </p:nvPr>
        </p:nvGraphicFramePr>
        <p:xfrm>
          <a:off x="373500" y="1351279"/>
          <a:ext cx="11392898" cy="4915914"/>
        </p:xfrm>
        <a:graphic>
          <a:graphicData uri="http://schemas.openxmlformats.org/drawingml/2006/table">
            <a:tbl>
              <a:tblPr/>
              <a:tblGrid>
                <a:gridCol w="10917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5155">
                  <a:extLst>
                    <a:ext uri="{9D8B030D-6E8A-4147-A177-3AD203B41FA5}">
                      <a16:colId xmlns:a16="http://schemas.microsoft.com/office/drawing/2014/main" val="384561633"/>
                    </a:ext>
                  </a:extLst>
                </a:gridCol>
                <a:gridCol w="2709420">
                  <a:extLst>
                    <a:ext uri="{9D8B030D-6E8A-4147-A177-3AD203B41FA5}">
                      <a16:colId xmlns:a16="http://schemas.microsoft.com/office/drawing/2014/main" val="921812100"/>
                    </a:ext>
                  </a:extLst>
                </a:gridCol>
                <a:gridCol w="1719305">
                  <a:extLst>
                    <a:ext uri="{9D8B030D-6E8A-4147-A177-3AD203B41FA5}">
                      <a16:colId xmlns:a16="http://schemas.microsoft.com/office/drawing/2014/main" val="4089891530"/>
                    </a:ext>
                  </a:extLst>
                </a:gridCol>
                <a:gridCol w="624129">
                  <a:extLst>
                    <a:ext uri="{9D8B030D-6E8A-4147-A177-3AD203B41FA5}">
                      <a16:colId xmlns:a16="http://schemas.microsoft.com/office/drawing/2014/main" val="1542921772"/>
                    </a:ext>
                  </a:extLst>
                </a:gridCol>
                <a:gridCol w="1276368">
                  <a:extLst>
                    <a:ext uri="{9D8B030D-6E8A-4147-A177-3AD203B41FA5}">
                      <a16:colId xmlns:a16="http://schemas.microsoft.com/office/drawing/2014/main" val="1585417047"/>
                    </a:ext>
                  </a:extLst>
                </a:gridCol>
                <a:gridCol w="1588997">
                  <a:extLst>
                    <a:ext uri="{9D8B030D-6E8A-4147-A177-3AD203B41FA5}">
                      <a16:colId xmlns:a16="http://schemas.microsoft.com/office/drawing/2014/main" val="1856661771"/>
                    </a:ext>
                  </a:extLst>
                </a:gridCol>
                <a:gridCol w="1072674">
                  <a:extLst>
                    <a:ext uri="{9D8B030D-6E8A-4147-A177-3AD203B41FA5}">
                      <a16:colId xmlns:a16="http://schemas.microsoft.com/office/drawing/2014/main" val="890571747"/>
                    </a:ext>
                  </a:extLst>
                </a:gridCol>
                <a:gridCol w="705107">
                  <a:extLst>
                    <a:ext uri="{9D8B030D-6E8A-4147-A177-3AD203B41FA5}">
                      <a16:colId xmlns:a16="http://schemas.microsoft.com/office/drawing/2014/main" val="41579248"/>
                    </a:ext>
                  </a:extLst>
                </a:gridCol>
              </a:tblGrid>
              <a:tr h="3915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Línea de acció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Estad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Aspectos destac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Riesgos </a:t>
                      </a:r>
                      <a:endParaRPr lang="es-ES" sz="1100" b="1" i="0" u="none" strike="noStrike" noProof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Impact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Hitos afect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Próximos pas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Dueñ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Fecha límit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819693"/>
                  </a:ext>
                </a:extLst>
              </a:tr>
              <a:tr h="44259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200" b="1" i="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 Light"/>
                          <a:cs typeface="Calibri Light"/>
                        </a:rPr>
                        <a:t>ALCO SPAI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WIP </a:t>
                      </a:r>
                      <a:r>
                        <a:rPr lang="es-E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go</a:t>
                      </a: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</a:t>
                      </a:r>
                      <a:r>
                        <a:rPr lang="es-E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live</a:t>
                      </a: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y ejecución de paralel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kern="1200">
                        <a:solidFill>
                          <a:srgbClr val="FFC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Go</a:t>
                      </a: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 </a:t>
                      </a:r>
                      <a:r>
                        <a:rPr kumimoji="0" lang="es-ES" sz="1000" b="0" i="0" u="none" strike="noStrike" kern="1200" cap="none" spc="0" normalizeH="0" baseline="0" noProof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live</a:t>
                      </a:r>
                      <a:endParaRPr kumimoji="0" lang="es-ES" sz="10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Clr>
                          <a:srgbClr val="000000"/>
                        </a:buClr>
                        <a:buFont typeface="Arial,Sans-Serif"/>
                        <a:buNone/>
                      </a:pPr>
                      <a:endParaRPr lang="es-ES" sz="1000" b="0" i="0" u="none" strike="noStrike" baseline="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3399217"/>
                  </a:ext>
                </a:extLst>
              </a:tr>
              <a:tr h="4596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100" b="1" i="0" u="sng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IR Vega</a:t>
                      </a:r>
                    </a:p>
                  </a:txBody>
                  <a:tcPr marL="45720" marR="45720" anchor="ctr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kumimoji="0" lang="es-ES" sz="10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Retraso en la fecha de cierre de desarrollo para comienzo de </a:t>
                      </a:r>
                      <a:r>
                        <a:rPr lang="es-ES" sz="1000" b="0" i="0" u="none" strike="noStrike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UATs</a:t>
                      </a:r>
                      <a:r>
                        <a:rPr lang="es-ES" sz="10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 locales</a:t>
                      </a:r>
                      <a:endParaRPr lang="es-ES" sz="1000" b="0" i="0" u="none" strike="noStrike" noProof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Wingdings" panose="05000000000000000000" pitchFamily="2" charset="2"/>
                        <a:buNone/>
                      </a:pPr>
                      <a:r>
                        <a:rPr lang="es-ES_tradnl" sz="1000" b="1" i="0" u="none" strike="noStrike" kern="1200">
                          <a:solidFill>
                            <a:srgbClr val="FF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LTO</a:t>
                      </a:r>
                      <a:endParaRPr lang="en-US"/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Implementación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Lanzamiento de </a:t>
                      </a:r>
                      <a:r>
                        <a:rPr lang="es-ES" sz="1000" b="0" i="0" u="none" strike="noStrike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UATs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J. Manuel Martínez Diego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sng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20/09/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i="0" u="none" strike="noStrike">
                          <a:solidFill>
                            <a:schemeClr val="accent1"/>
                          </a:solidFill>
                          <a:effectLst/>
                          <a:latin typeface="Calibri Light"/>
                          <a:cs typeface="Calibri Light"/>
                        </a:rPr>
                        <a:t>TBD</a:t>
                      </a:r>
                      <a:endParaRPr lang="es-E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85356000"/>
                  </a:ext>
                </a:extLst>
              </a:tr>
              <a:tr h="44259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200" b="1" i="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 Light"/>
                          <a:cs typeface="Calibri Light"/>
                        </a:rPr>
                        <a:t>HK</a:t>
                      </a:r>
                    </a:p>
                  </a:txBody>
                  <a:tcPr marL="45720" marR="45720" anchor="ctr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45720" marR="4572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WIP </a:t>
                      </a:r>
                      <a:r>
                        <a:rPr lang="es-E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go</a:t>
                      </a: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</a:t>
                      </a:r>
                      <a:r>
                        <a:rPr lang="es-E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live</a:t>
                      </a: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y ejecución de paralelos</a:t>
                      </a:r>
                    </a:p>
                  </a:txBody>
                  <a:tcPr marL="45720" marR="4572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kern="1200">
                        <a:solidFill>
                          <a:srgbClr val="FFC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Go</a:t>
                      </a: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 </a:t>
                      </a:r>
                      <a:r>
                        <a:rPr kumimoji="0" lang="es-ES" sz="1000" b="0" i="0" u="none" strike="noStrike" kern="1200" cap="none" spc="0" normalizeH="0" baseline="0" noProof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</a:rPr>
                        <a:t>live</a:t>
                      </a:r>
                      <a:endParaRPr kumimoji="0" lang="es-ES" sz="100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45720" marR="4572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Grace Lee </a:t>
                      </a:r>
                      <a:r>
                        <a:rPr lang="es-ES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Wing</a:t>
                      </a:r>
                      <a:r>
                        <a:rPr lang="es-E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Yan</a:t>
                      </a:r>
                    </a:p>
                  </a:txBody>
                  <a:tcPr marL="45720" marR="45720" anchor="ctr">
                    <a:lnL w="0"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Clr>
                          <a:srgbClr val="000000"/>
                        </a:buClr>
                        <a:buFont typeface="Arial,Sans-Serif"/>
                        <a:buNone/>
                      </a:pPr>
                      <a:endParaRPr lang="es-ES" sz="1000" b="0" i="0" u="none" strike="noStrike" baseline="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88466279"/>
                  </a:ext>
                </a:extLst>
              </a:tr>
              <a:tr h="95327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200" b="1" i="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 Light"/>
                          <a:cs typeface="Calibri Light"/>
                        </a:rPr>
                        <a:t>UK</a:t>
                      </a:r>
                    </a:p>
                  </a:txBody>
                  <a:tcPr marL="45720" marR="45720" anchor="ctr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45720" marR="4572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En IR Delta, se está analizando desde proyecto la viabilidad de  priorizar la ejecución o revisión del </a:t>
                      </a:r>
                      <a:r>
                        <a:rPr lang="es-E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issue</a:t>
                      </a: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detectado localmente sobre la asignación de curvas IM para pasar a homologación.</a:t>
                      </a:r>
                    </a:p>
                  </a:txBody>
                  <a:tcPr marL="45720" marR="4572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,Sans-Serif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</a:rPr>
                        <a:t>Disponibilidad de VI local</a:t>
                      </a:r>
                      <a:endParaRPr lang="en-US" sz="1000" b="0" i="0" u="none" strike="noStrike" kern="1200" baseline="0" noProof="0">
                        <a:effectLst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,Sans-Serif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Retrasos debido al </a:t>
                      </a:r>
                      <a:r>
                        <a:rPr lang="es-ES" sz="1000" b="0" i="0" u="none" strike="noStrike" kern="1200" baseline="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upgrade</a:t>
                      </a:r>
                      <a:r>
                        <a:rPr lang="es-E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 del ratio de FX e implementación del módulo de HA de MX.</a:t>
                      </a:r>
                    </a:p>
                  </a:txBody>
                  <a:tcPr marL="45720" marR="4572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s-ES" sz="1000" b="1" i="0" u="none" strike="noStrike" kern="1200">
                          <a:solidFill>
                            <a:srgbClr val="FF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LTO</a:t>
                      </a:r>
                      <a:endParaRPr lang="en-US"/>
                    </a:p>
                  </a:txBody>
                  <a:tcPr marL="45720" marR="4572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ssessment e </a:t>
                      </a:r>
                      <a:r>
                        <a:rPr lang="en-US" sz="1000" b="0" i="0" u="none" strike="noStrike" kern="1200" baseline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implementación</a:t>
                      </a:r>
                      <a:endParaRPr lang="en-US"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45720" marR="4572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baseline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Homologación sensibilidades FX Ratio MX.</a:t>
                      </a:r>
                    </a:p>
                  </a:txBody>
                  <a:tcPr marL="45720" marR="4572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Guy Reid</a:t>
                      </a:r>
                    </a:p>
                  </a:txBody>
                  <a:tcPr marL="45720" marR="45720" anchor="ctr">
                    <a:lnL w="0"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5466923"/>
                  </a:ext>
                </a:extLst>
              </a:tr>
              <a:tr h="1242667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</a:pPr>
                      <a:r>
                        <a:rPr lang="en-US" sz="1100" b="1" i="0" u="sng" strike="noStrike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IR Delta</a:t>
                      </a:r>
                      <a:endParaRPr lang="es-ES" sz="1100" b="1" i="0" u="sng" strike="noStrike">
                        <a:solidFill>
                          <a:srgbClr val="000000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45720" marR="45720" anchor="ctr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</a:rPr>
                        <a:t>WIP análisis local de resultados (parcial)</a:t>
                      </a:r>
                      <a:r>
                        <a:rPr lang="es-E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con solución táctica para las coberturas con bonos reales y resultados con sensibilidades </a:t>
                      </a:r>
                      <a:r>
                        <a:rPr lang="es-ES" sz="1000" b="0" i="0" u="none" strike="noStrike" kern="1200" baseline="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preproductivas</a:t>
                      </a:r>
                      <a:r>
                        <a:rPr lang="es-E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para curvas FX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Posible </a:t>
                      </a:r>
                      <a:r>
                        <a:rPr lang="es-ES" sz="1000" b="0" i="0" u="none" strike="noStrike" kern="1200" baseline="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delay</a:t>
                      </a:r>
                      <a:r>
                        <a:rPr lang="es-E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en homologación y </a:t>
                      </a:r>
                      <a:r>
                        <a:rPr lang="es-ES" sz="1000" b="0" i="0" u="none" strike="noStrike" kern="1200" baseline="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testing</a:t>
                      </a:r>
                      <a:r>
                        <a:rPr lang="es-E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de sensibilidades (FX ratio) por problemas de capacidad en los entornos corporativos.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Dependencias </a:t>
                      </a:r>
                      <a:r>
                        <a:rPr lang="es-E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upgrade</a:t>
                      </a: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 del ratio de FX de MX (Oct) e implementación del módulo de HA de MX.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s-ES" sz="1000" b="1" i="0" u="none" strike="noStrike" noProof="0">
                          <a:solidFill>
                            <a:srgbClr val="FF0000"/>
                          </a:solidFill>
                          <a:effectLst/>
                          <a:latin typeface="Calibri Light"/>
                        </a:rPr>
                        <a:t>ALTO</a:t>
                      </a:r>
                      <a:endParaRPr lang="en-US"/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Lanzamiento </a:t>
                      </a:r>
                      <a:r>
                        <a:rPr lang="es-ES" sz="1000" b="0" i="0" u="none" strike="noStrike" kern="1200" baseline="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UATs</a:t>
                      </a: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_tradnl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Feedback</a:t>
                      </a:r>
                      <a:r>
                        <a:rPr lang="es-ES_tradnl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local sobre resultados (parcial) y FX (muestra)  - 30/09.</a:t>
                      </a:r>
                      <a:endParaRPr lang="es-ES" sz="1000" b="0" i="0" u="none" strike="noStrike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</a:rPr>
                        <a:t>Envío de sensibilidades de curvas FX homologadas - 5/10.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Guy Reid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sng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07/10/2022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</a:rPr>
                        <a:t>21/10/2022</a:t>
                      </a:r>
                      <a:endParaRPr lang="es-ES" sz="1000" b="0" i="0" u="none" strike="noStrike" kern="1200" noProof="0">
                        <a:effectLst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86411911"/>
                  </a:ext>
                </a:extLst>
              </a:tr>
              <a:tr h="91923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</a:pPr>
                      <a:r>
                        <a:rPr lang="es-ES" sz="1100" b="1" i="0" u="sng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Bond</a:t>
                      </a:r>
                      <a:endParaRPr lang="es-ES" sz="1100" b="1" i="0" u="sng" strike="noStrike">
                        <a:solidFill>
                          <a:srgbClr val="000000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45720" marR="45720" anchor="ctr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Envío a IV</a:t>
                      </a:r>
                      <a:endParaRPr lang="en-US"/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Dependencias con IT local para la ingesta de precios limpios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Problemas de DQ en información local </a:t>
                      </a:r>
                      <a:r>
                        <a:rPr lang="es-ES" sz="1000" b="0" i="0" u="none" strike="noStrike" kern="1200" baseline="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ingestada</a:t>
                      </a: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en el lago.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i="0" u="none" strike="noStrike">
                          <a:solidFill>
                            <a:srgbClr val="FFC000"/>
                          </a:solidFill>
                          <a:effectLst/>
                          <a:latin typeface="Calibri Light"/>
                          <a:cs typeface="Calibri Light"/>
                        </a:rPr>
                        <a:t>.</a:t>
                      </a:r>
                      <a:r>
                        <a:rPr lang="es-ES" sz="1000" b="1" i="0" u="none" strike="noStrike">
                          <a:solidFill>
                            <a:srgbClr val="92D050"/>
                          </a:solidFill>
                          <a:effectLst/>
                          <a:latin typeface="Calibri Light"/>
                          <a:cs typeface="Calibri Light"/>
                        </a:rPr>
                        <a:t>BAJO</a:t>
                      </a:r>
                      <a:endParaRPr lang="en-US" sz="1000">
                        <a:solidFill>
                          <a:srgbClr val="92D050"/>
                        </a:solidFill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Puesta en producción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>
                    <a:lnL w="0"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sng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12/09/2022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</a:rPr>
                        <a:t>16/09/2022</a:t>
                      </a:r>
                      <a:endParaRPr lang="es-ES" sz="1000" b="0" i="0" u="none" strike="noStrike" kern="1200" noProof="0">
                        <a:effectLst/>
                      </a:endParaRPr>
                    </a:p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s-E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8254653"/>
                  </a:ext>
                </a:extLst>
              </a:tr>
            </a:tbl>
          </a:graphicData>
        </a:graphic>
      </p:graphicFrame>
      <p:sp>
        <p:nvSpPr>
          <p:cNvPr id="8" name="Flecha abajo 30">
            <a:extLst>
              <a:ext uri="{FF2B5EF4-FFF2-40B4-BE49-F238E27FC236}">
                <a16:creationId xmlns:a16="http://schemas.microsoft.com/office/drawing/2014/main" id="{0343E56A-E2FE-47F6-9B23-3B9EE9ECEA08}"/>
              </a:ext>
            </a:extLst>
          </p:cNvPr>
          <p:cNvSpPr/>
          <p:nvPr/>
        </p:nvSpPr>
        <p:spPr>
          <a:xfrm rot="16200000">
            <a:off x="10850394" y="-181510"/>
            <a:ext cx="188435" cy="11880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Text Box 10">
            <a:extLst>
              <a:ext uri="{FF2B5EF4-FFF2-40B4-BE49-F238E27FC236}">
                <a16:creationId xmlns:a16="http://schemas.microsoft.com/office/drawing/2014/main" id="{08EB2379-C8B6-4F8B-9EA3-AD981839B1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52735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1</a:t>
            </a:r>
          </a:p>
        </p:txBody>
      </p:sp>
      <p:sp>
        <p:nvSpPr>
          <p:cNvPr id="10" name="Text Box 10">
            <a:extLst>
              <a:ext uri="{FF2B5EF4-FFF2-40B4-BE49-F238E27FC236}">
                <a16:creationId xmlns:a16="http://schemas.microsoft.com/office/drawing/2014/main" id="{FAAA26E9-0115-438B-B122-877BE9DE00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95673" y="233676"/>
            <a:ext cx="360000" cy="360000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2</a:t>
            </a:r>
            <a:endParaRPr lang="en-US"/>
          </a:p>
        </p:txBody>
      </p:sp>
      <p:sp>
        <p:nvSpPr>
          <p:cNvPr id="11" name="Text Box 10">
            <a:extLst>
              <a:ext uri="{FF2B5EF4-FFF2-40B4-BE49-F238E27FC236}">
                <a16:creationId xmlns:a16="http://schemas.microsoft.com/office/drawing/2014/main" id="{896BDA76-1FE0-4969-A9D1-0D4E5B4506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8612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marL="0" marR="0" lvl="0" indent="0" algn="ctr" defTabSz="957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B2CA6B-F932-46CE-ACF8-098CB0737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11577" y="515588"/>
            <a:ext cx="1728192" cy="426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36000" tIns="45671" rIns="36000" bIns="45671" anchor="ctr"/>
          <a:lstStyle/>
          <a:p>
            <a:pPr algn="ctr" defTabSz="914377">
              <a:defRPr/>
            </a:pPr>
            <a:r>
              <a:rPr lang="es-ES" sz="1200" b="1" kern="0" cap="small">
                <a:solidFill>
                  <a:srgbClr val="FF0000"/>
                </a:solidFill>
                <a:latin typeface="Calibri"/>
                <a:cs typeface="Calibri"/>
              </a:rPr>
              <a:t>ESTADO A 29.09.2022</a:t>
            </a:r>
            <a:endParaRPr lang="es-ES" sz="1200" kern="0" cap="small">
              <a:ea typeface="+mn-lt"/>
              <a:cs typeface="+mn-lt"/>
            </a:endParaRPr>
          </a:p>
        </p:txBody>
      </p:sp>
      <p:sp>
        <p:nvSpPr>
          <p:cNvPr id="13" name="TituloSlide">
            <a:extLst>
              <a:ext uri="{FF2B5EF4-FFF2-40B4-BE49-F238E27FC236}">
                <a16:creationId xmlns:a16="http://schemas.microsoft.com/office/drawing/2014/main" id="{A32E98AC-E92F-48E9-8018-3DE7B1EF480A}"/>
              </a:ext>
            </a:extLst>
          </p:cNvPr>
          <p:cNvSpPr txBox="1">
            <a:spLocks/>
          </p:cNvSpPr>
          <p:nvPr/>
        </p:nvSpPr>
        <p:spPr>
          <a:xfrm>
            <a:off x="669432" y="290771"/>
            <a:ext cx="10695254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sz="2800">
                <a:solidFill>
                  <a:srgbClr val="EB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 Risk Advanced Platform</a:t>
            </a:r>
            <a:endParaRPr lang="en-029" sz="2800">
              <a:solidFill>
                <a:srgbClr val="EB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sz="200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VAs AVAs Statu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A2D87D1-00B3-4FEB-AB4A-A752921D8BCC}"/>
              </a:ext>
            </a:extLst>
          </p:cNvPr>
          <p:cNvGrpSpPr/>
          <p:nvPr/>
        </p:nvGrpSpPr>
        <p:grpSpPr>
          <a:xfrm>
            <a:off x="5056297" y="6474002"/>
            <a:ext cx="6451802" cy="369332"/>
            <a:chOff x="5056297" y="6382562"/>
            <a:chExt cx="6451802" cy="369332"/>
          </a:xfrm>
        </p:grpSpPr>
        <p:sp>
          <p:nvSpPr>
            <p:cNvPr id="15" name="Rectangle 11">
              <a:extLst>
                <a:ext uri="{FF2B5EF4-FFF2-40B4-BE49-F238E27FC236}">
                  <a16:creationId xmlns:a16="http://schemas.microsoft.com/office/drawing/2014/main" id="{488CD56B-1054-43E5-9D5C-A37D04CCB6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8556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ompleted</a:t>
              </a:r>
            </a:p>
          </p:txBody>
        </p:sp>
        <p:sp>
          <p:nvSpPr>
            <p:cNvPr id="16" name="Rectangle 11">
              <a:extLst>
                <a:ext uri="{FF2B5EF4-FFF2-40B4-BE49-F238E27FC236}">
                  <a16:creationId xmlns:a16="http://schemas.microsoft.com/office/drawing/2014/main" id="{E99C430C-A916-41EB-B79D-7DD18737A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8299" y="6454663"/>
              <a:ext cx="750152" cy="191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ery delayed 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≥ 30%)</a:t>
              </a:r>
            </a:p>
          </p:txBody>
        </p:sp>
        <p:sp>
          <p:nvSpPr>
            <p:cNvPr id="17" name="Rectangle 11">
              <a:extLst>
                <a:ext uri="{FF2B5EF4-FFF2-40B4-BE49-F238E27FC236}">
                  <a16:creationId xmlns:a16="http://schemas.microsoft.com/office/drawing/2014/main" id="{BC3C6B53-5601-4EBB-956A-905277EAA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1732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o be started</a:t>
              </a:r>
            </a:p>
          </p:txBody>
        </p:sp>
        <p:sp>
          <p:nvSpPr>
            <p:cNvPr id="18" name="Rectangle 11">
              <a:extLst>
                <a:ext uri="{FF2B5EF4-FFF2-40B4-BE49-F238E27FC236}">
                  <a16:creationId xmlns:a16="http://schemas.microsoft.com/office/drawing/2014/main" id="{45F76314-4B3D-4419-984D-8E5C36E13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06236" y="6455802"/>
              <a:ext cx="801863" cy="199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 Risk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Issues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Dependencies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ED1273B-E7B0-4FAC-BC68-E451FEF6DB57}"/>
                </a:ext>
              </a:extLst>
            </p:cNvPr>
            <p:cNvSpPr txBox="1"/>
            <p:nvPr/>
          </p:nvSpPr>
          <p:spPr>
            <a:xfrm>
              <a:off x="5056297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1656D99-B3BC-4355-9C30-88E96341FA92}"/>
                </a:ext>
              </a:extLst>
            </p:cNvPr>
            <p:cNvSpPr txBox="1"/>
            <p:nvPr/>
          </p:nvSpPr>
          <p:spPr>
            <a:xfrm>
              <a:off x="586576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1" name="Rectangle 11">
              <a:extLst>
                <a:ext uri="{FF2B5EF4-FFF2-40B4-BE49-F238E27FC236}">
                  <a16:creationId xmlns:a16="http://schemas.microsoft.com/office/drawing/2014/main" id="{67E4E9B0-0B42-4BBF-9281-17DE81F20F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2909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elayed / Slightly delayed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1578F9A-798F-4B55-B38B-1328AFB0A4F2}"/>
                </a:ext>
              </a:extLst>
            </p:cNvPr>
            <p:cNvSpPr txBox="1"/>
            <p:nvPr/>
          </p:nvSpPr>
          <p:spPr>
            <a:xfrm>
              <a:off x="6865731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E5AB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E5AB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3" name="Rectangle 11">
              <a:extLst>
                <a:ext uri="{FF2B5EF4-FFF2-40B4-BE49-F238E27FC236}">
                  <a16:creationId xmlns:a16="http://schemas.microsoft.com/office/drawing/2014/main" id="{2BF08683-27BB-4B58-8433-88E7BDDF38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8838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On time / Ahead of plan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921E44C-2D94-40D1-90D7-E27B5E891C19}"/>
                </a:ext>
              </a:extLst>
            </p:cNvPr>
            <p:cNvSpPr txBox="1"/>
            <p:nvPr/>
          </p:nvSpPr>
          <p:spPr>
            <a:xfrm>
              <a:off x="8261938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F299F7BD-E74F-439A-96D8-DCBD1015D7A7}"/>
                </a:ext>
              </a:extLst>
            </p:cNvPr>
            <p:cNvSpPr txBox="1"/>
            <p:nvPr/>
          </p:nvSpPr>
          <p:spPr>
            <a:xfrm>
              <a:off x="971910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478C487-89B5-429A-9186-362BDF54E368}"/>
              </a:ext>
            </a:extLst>
          </p:cNvPr>
          <p:cNvSpPr txBox="1"/>
          <p:nvPr/>
        </p:nvSpPr>
        <p:spPr>
          <a:xfrm>
            <a:off x="373500" y="99354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Local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Assessment</a:t>
            </a: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 &amp; Inputs</a:t>
            </a:r>
          </a:p>
        </p:txBody>
      </p:sp>
    </p:spTree>
    <p:extLst>
      <p:ext uri="{BB962C8B-B14F-4D97-AF65-F5344CB8AC3E}">
        <p14:creationId xmlns:p14="http://schemas.microsoft.com/office/powerpoint/2010/main" val="9295056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E346533A-D3AF-4813-B21D-B14F8369E1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478306"/>
              </p:ext>
            </p:extLst>
          </p:nvPr>
        </p:nvGraphicFramePr>
        <p:xfrm>
          <a:off x="373499" y="1332101"/>
          <a:ext cx="11392898" cy="2087268"/>
        </p:xfrm>
        <a:graphic>
          <a:graphicData uri="http://schemas.openxmlformats.org/drawingml/2006/table">
            <a:tbl>
              <a:tblPr/>
              <a:tblGrid>
                <a:gridCol w="10917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5155">
                  <a:extLst>
                    <a:ext uri="{9D8B030D-6E8A-4147-A177-3AD203B41FA5}">
                      <a16:colId xmlns:a16="http://schemas.microsoft.com/office/drawing/2014/main" val="384561633"/>
                    </a:ext>
                  </a:extLst>
                </a:gridCol>
                <a:gridCol w="2735283">
                  <a:extLst>
                    <a:ext uri="{9D8B030D-6E8A-4147-A177-3AD203B41FA5}">
                      <a16:colId xmlns:a16="http://schemas.microsoft.com/office/drawing/2014/main" val="921812100"/>
                    </a:ext>
                  </a:extLst>
                </a:gridCol>
                <a:gridCol w="1595524">
                  <a:extLst>
                    <a:ext uri="{9D8B030D-6E8A-4147-A177-3AD203B41FA5}">
                      <a16:colId xmlns:a16="http://schemas.microsoft.com/office/drawing/2014/main" val="4089891530"/>
                    </a:ext>
                  </a:extLst>
                </a:gridCol>
                <a:gridCol w="722048">
                  <a:extLst>
                    <a:ext uri="{9D8B030D-6E8A-4147-A177-3AD203B41FA5}">
                      <a16:colId xmlns:a16="http://schemas.microsoft.com/office/drawing/2014/main" val="1542921772"/>
                    </a:ext>
                  </a:extLst>
                </a:gridCol>
                <a:gridCol w="1276368">
                  <a:extLst>
                    <a:ext uri="{9D8B030D-6E8A-4147-A177-3AD203B41FA5}">
                      <a16:colId xmlns:a16="http://schemas.microsoft.com/office/drawing/2014/main" val="1585417047"/>
                    </a:ext>
                  </a:extLst>
                </a:gridCol>
                <a:gridCol w="1588997">
                  <a:extLst>
                    <a:ext uri="{9D8B030D-6E8A-4147-A177-3AD203B41FA5}">
                      <a16:colId xmlns:a16="http://schemas.microsoft.com/office/drawing/2014/main" val="1856661771"/>
                    </a:ext>
                  </a:extLst>
                </a:gridCol>
                <a:gridCol w="1072673">
                  <a:extLst>
                    <a:ext uri="{9D8B030D-6E8A-4147-A177-3AD203B41FA5}">
                      <a16:colId xmlns:a16="http://schemas.microsoft.com/office/drawing/2014/main" val="890571747"/>
                    </a:ext>
                  </a:extLst>
                </a:gridCol>
                <a:gridCol w="705107">
                  <a:extLst>
                    <a:ext uri="{9D8B030D-6E8A-4147-A177-3AD203B41FA5}">
                      <a16:colId xmlns:a16="http://schemas.microsoft.com/office/drawing/2014/main" val="41579248"/>
                    </a:ext>
                  </a:extLst>
                </a:gridCol>
              </a:tblGrid>
              <a:tr h="463837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Línea de acció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Estad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Aspectos destac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Riesgos </a:t>
                      </a:r>
                      <a:endParaRPr lang="es-ES" sz="1100" b="1" i="0" u="none" strike="noStrike" noProof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Impact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Hitos afect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Próximos pas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Dueñ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Fecha límit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819693"/>
                  </a:ext>
                </a:extLst>
              </a:tr>
              <a:tr h="60298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200" b="1" i="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 Light"/>
                          <a:cs typeface="Calibri Light"/>
                        </a:rPr>
                        <a:t>NY</a:t>
                      </a:r>
                      <a:endParaRPr lang="es-ES_tradnl" sz="1400" b="1" i="0" u="none" strike="noStrike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Retrasos en la validación de resultados para Delta IR por parte del usuario.</a:t>
                      </a: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i="0" u="none" strike="noStrike">
                          <a:solidFill>
                            <a:srgbClr val="FFC000"/>
                          </a:solidFill>
                          <a:effectLst/>
                          <a:latin typeface="Calibri Light"/>
                          <a:cs typeface="Calibri Light"/>
                        </a:rPr>
                        <a:t>MEDIO</a:t>
                      </a:r>
                      <a:endParaRPr lang="en-US" sz="1000">
                        <a:solidFill>
                          <a:srgbClr val="FF0000"/>
                        </a:solidFill>
                        <a:latin typeface="Calibri Light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/>
                        <a:buChar char="•"/>
                      </a:pPr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Implementación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Cierre </a:t>
                      </a:r>
                      <a:r>
                        <a:rPr lang="es-ES" sz="1000" b="0" i="0" u="none" strike="noStrike" kern="1200" baseline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UATs</a:t>
                      </a:r>
                      <a:r>
                        <a:rPr lang="es-E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.</a:t>
                      </a:r>
                      <a:endParaRPr lang="en-US"/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3399217"/>
                  </a:ext>
                </a:extLst>
              </a:tr>
              <a:tr h="102044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</a:pPr>
                      <a:r>
                        <a:rPr lang="en-US" sz="1100" b="1" i="0" u="sng" strike="noStrike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IR Delta</a:t>
                      </a:r>
                      <a:endParaRPr lang="es-ES" sz="1100" b="1" i="0" u="sng" strike="noStrike">
                        <a:solidFill>
                          <a:srgbClr val="000000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WIP ejecuciones y análisis de resultados a cierre de Julio</a:t>
                      </a:r>
                    </a:p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000" b="0" i="0" u="none" strike="no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WIP análisis resultados, ejecuciones  y dudas de las </a:t>
                      </a:r>
                      <a:r>
                        <a:rPr lang="es-ES" sz="1000" b="0" i="0" u="none" strike="noStrike" baseline="0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UATs</a:t>
                      </a:r>
                      <a:r>
                        <a:rPr lang="es-ES" sz="1000" b="0" i="0" u="none" strike="no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(SBNA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Retraso </a:t>
                      </a:r>
                      <a:r>
                        <a:rPr lang="es-E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certificación local de resultados para IR Delta </a:t>
                      </a: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Inclusión de SBNA y SCUS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i="0" u="none" strike="noStrike">
                          <a:solidFill>
                            <a:srgbClr val="FFC000"/>
                          </a:solidFill>
                          <a:effectLst/>
                          <a:latin typeface="Calibri Light"/>
                          <a:cs typeface="Calibri Light"/>
                        </a:rPr>
                        <a:t>MEDIO</a:t>
                      </a:r>
                      <a:endParaRPr lang="en-US" sz="1000">
                        <a:solidFill>
                          <a:srgbClr val="FF0000"/>
                        </a:solidFill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Entrega a VI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Cierre de </a:t>
                      </a:r>
                      <a:r>
                        <a:rPr lang="es-ES" sz="1000" b="0" i="0" u="none" strike="noStrike" kern="1200" baseline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UATs</a:t>
                      </a:r>
                      <a:endParaRPr lang="es-ES"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Hazel Alvarad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i="0" u="none" strike="noStrike" kern="1200">
                          <a:solidFill>
                            <a:schemeClr val="accent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TBD</a:t>
                      </a:r>
                      <a:endParaRPr lang="en-US" b="1">
                        <a:solidFill>
                          <a:schemeClr val="accent1"/>
                        </a:solidFill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60480928"/>
                  </a:ext>
                </a:extLst>
              </a:tr>
            </a:tbl>
          </a:graphicData>
        </a:graphic>
      </p:graphicFrame>
      <p:sp>
        <p:nvSpPr>
          <p:cNvPr id="28" name="Flecha abajo 30">
            <a:extLst>
              <a:ext uri="{FF2B5EF4-FFF2-40B4-BE49-F238E27FC236}">
                <a16:creationId xmlns:a16="http://schemas.microsoft.com/office/drawing/2014/main" id="{224BEBC2-3D5D-4E4E-8CE5-B3EF9F6CBD7A}"/>
              </a:ext>
            </a:extLst>
          </p:cNvPr>
          <p:cNvSpPr/>
          <p:nvPr/>
        </p:nvSpPr>
        <p:spPr>
          <a:xfrm rot="16200000">
            <a:off x="10850394" y="-181510"/>
            <a:ext cx="188435" cy="11880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9" name="Text Box 10">
            <a:extLst>
              <a:ext uri="{FF2B5EF4-FFF2-40B4-BE49-F238E27FC236}">
                <a16:creationId xmlns:a16="http://schemas.microsoft.com/office/drawing/2014/main" id="{2BE21914-2604-4E62-8B55-49AAD4CCEA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52735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1</a:t>
            </a:r>
          </a:p>
        </p:txBody>
      </p:sp>
      <p:sp>
        <p:nvSpPr>
          <p:cNvPr id="30" name="Text Box 10">
            <a:extLst>
              <a:ext uri="{FF2B5EF4-FFF2-40B4-BE49-F238E27FC236}">
                <a16:creationId xmlns:a16="http://schemas.microsoft.com/office/drawing/2014/main" id="{15818F02-0623-43A2-A2DC-C09D5012D3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95673" y="233676"/>
            <a:ext cx="360000" cy="360000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2</a:t>
            </a:r>
            <a:endParaRPr lang="en-US"/>
          </a:p>
        </p:txBody>
      </p:sp>
      <p:sp>
        <p:nvSpPr>
          <p:cNvPr id="31" name="Text Box 10">
            <a:extLst>
              <a:ext uri="{FF2B5EF4-FFF2-40B4-BE49-F238E27FC236}">
                <a16:creationId xmlns:a16="http://schemas.microsoft.com/office/drawing/2014/main" id="{23AB55E0-76E5-4065-981D-7295A78D60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8612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marL="0" marR="0" lvl="0" indent="0" algn="ctr" defTabSz="957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2" name="Rectangle 11">
            <a:extLst>
              <a:ext uri="{FF2B5EF4-FFF2-40B4-BE49-F238E27FC236}">
                <a16:creationId xmlns:a16="http://schemas.microsoft.com/office/drawing/2014/main" id="{54811520-2AB5-446C-B673-7B83D35B8E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11577" y="515588"/>
            <a:ext cx="1728192" cy="426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36000" tIns="45671" rIns="36000" bIns="45671" anchor="ctr"/>
          <a:lstStyle/>
          <a:p>
            <a:pPr algn="ctr" defTabSz="914377">
              <a:defRPr/>
            </a:pPr>
            <a:r>
              <a:rPr lang="es-ES" sz="1200" b="1" kern="0" cap="small">
                <a:solidFill>
                  <a:srgbClr val="FF0000"/>
                </a:solidFill>
                <a:latin typeface="Calibri"/>
                <a:cs typeface="Calibri"/>
              </a:rPr>
              <a:t>ESTADO A 29.09.2022</a:t>
            </a:r>
            <a:endParaRPr lang="es-ES" sz="1200" kern="0" cap="small">
              <a:ea typeface="+mn-lt"/>
              <a:cs typeface="+mn-lt"/>
            </a:endParaRPr>
          </a:p>
        </p:txBody>
      </p:sp>
      <p:sp>
        <p:nvSpPr>
          <p:cNvPr id="33" name="TituloSlide">
            <a:extLst>
              <a:ext uri="{FF2B5EF4-FFF2-40B4-BE49-F238E27FC236}">
                <a16:creationId xmlns:a16="http://schemas.microsoft.com/office/drawing/2014/main" id="{66892F0E-786C-4BBB-8E98-13BB246517BE}"/>
              </a:ext>
            </a:extLst>
          </p:cNvPr>
          <p:cNvSpPr txBox="1">
            <a:spLocks/>
          </p:cNvSpPr>
          <p:nvPr/>
        </p:nvSpPr>
        <p:spPr>
          <a:xfrm>
            <a:off x="669432" y="290771"/>
            <a:ext cx="10695254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sz="2800">
                <a:solidFill>
                  <a:srgbClr val="EB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 Risk Advanced Platform</a:t>
            </a:r>
            <a:endParaRPr lang="en-029" sz="2800">
              <a:solidFill>
                <a:srgbClr val="EB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sz="200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VAs AVAs Status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5890C44-3F14-41D3-8F71-B9EE97A41C91}"/>
              </a:ext>
            </a:extLst>
          </p:cNvPr>
          <p:cNvGrpSpPr/>
          <p:nvPr/>
        </p:nvGrpSpPr>
        <p:grpSpPr>
          <a:xfrm>
            <a:off x="5056297" y="6474002"/>
            <a:ext cx="6451802" cy="369332"/>
            <a:chOff x="5056297" y="6382562"/>
            <a:chExt cx="6451802" cy="369332"/>
          </a:xfrm>
        </p:grpSpPr>
        <p:sp>
          <p:nvSpPr>
            <p:cNvPr id="35" name="Rectangle 11">
              <a:extLst>
                <a:ext uri="{FF2B5EF4-FFF2-40B4-BE49-F238E27FC236}">
                  <a16:creationId xmlns:a16="http://schemas.microsoft.com/office/drawing/2014/main" id="{9B6F861A-6BFD-4C17-9DC4-947A478D14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8556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ompleted</a:t>
              </a:r>
            </a:p>
          </p:txBody>
        </p:sp>
        <p:sp>
          <p:nvSpPr>
            <p:cNvPr id="36" name="Rectangle 11">
              <a:extLst>
                <a:ext uri="{FF2B5EF4-FFF2-40B4-BE49-F238E27FC236}">
                  <a16:creationId xmlns:a16="http://schemas.microsoft.com/office/drawing/2014/main" id="{58149165-F2EA-4454-9562-380EC603FB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8299" y="6454663"/>
              <a:ext cx="750152" cy="191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ery delayed 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≥ 30%)</a:t>
              </a:r>
            </a:p>
          </p:txBody>
        </p:sp>
        <p:sp>
          <p:nvSpPr>
            <p:cNvPr id="37" name="Rectangle 11">
              <a:extLst>
                <a:ext uri="{FF2B5EF4-FFF2-40B4-BE49-F238E27FC236}">
                  <a16:creationId xmlns:a16="http://schemas.microsoft.com/office/drawing/2014/main" id="{EA5B3BD4-4FF8-4DC8-AC0A-4A50992A27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1732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o be started</a:t>
              </a:r>
            </a:p>
          </p:txBody>
        </p:sp>
        <p:sp>
          <p:nvSpPr>
            <p:cNvPr id="38" name="Rectangle 11">
              <a:extLst>
                <a:ext uri="{FF2B5EF4-FFF2-40B4-BE49-F238E27FC236}">
                  <a16:creationId xmlns:a16="http://schemas.microsoft.com/office/drawing/2014/main" id="{081C1E56-98B5-4423-A969-51C26108D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06236" y="6455802"/>
              <a:ext cx="801863" cy="199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 Risk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Issues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Dependencie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AB8F457-13A4-4766-AF74-D4B429B3D1B9}"/>
                </a:ext>
              </a:extLst>
            </p:cNvPr>
            <p:cNvSpPr txBox="1"/>
            <p:nvPr/>
          </p:nvSpPr>
          <p:spPr>
            <a:xfrm>
              <a:off x="5056297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6899C93-A292-444B-A6B1-61B2851635B7}"/>
                </a:ext>
              </a:extLst>
            </p:cNvPr>
            <p:cNvSpPr txBox="1"/>
            <p:nvPr/>
          </p:nvSpPr>
          <p:spPr>
            <a:xfrm>
              <a:off x="586576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1" name="Rectangle 11">
              <a:extLst>
                <a:ext uri="{FF2B5EF4-FFF2-40B4-BE49-F238E27FC236}">
                  <a16:creationId xmlns:a16="http://schemas.microsoft.com/office/drawing/2014/main" id="{547BE698-D924-4347-AB67-5214BB4C45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2909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elayed / Slightly delayed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4C823C0-7B61-4471-B595-6000DD2D5EB5}"/>
                </a:ext>
              </a:extLst>
            </p:cNvPr>
            <p:cNvSpPr txBox="1"/>
            <p:nvPr/>
          </p:nvSpPr>
          <p:spPr>
            <a:xfrm>
              <a:off x="6865731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E5AB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E5AB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3" name="Rectangle 11">
              <a:extLst>
                <a:ext uri="{FF2B5EF4-FFF2-40B4-BE49-F238E27FC236}">
                  <a16:creationId xmlns:a16="http://schemas.microsoft.com/office/drawing/2014/main" id="{4145AFF9-1CE2-40F9-8858-38241F225A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8838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On time / Ahead of plan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2745AD2B-74D2-4DA1-9B95-2F7CB430F801}"/>
                </a:ext>
              </a:extLst>
            </p:cNvPr>
            <p:cNvSpPr txBox="1"/>
            <p:nvPr/>
          </p:nvSpPr>
          <p:spPr>
            <a:xfrm>
              <a:off x="8261938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62D7F36-705C-4EA5-A8EC-D932487FB1DB}"/>
                </a:ext>
              </a:extLst>
            </p:cNvPr>
            <p:cNvSpPr txBox="1"/>
            <p:nvPr/>
          </p:nvSpPr>
          <p:spPr>
            <a:xfrm>
              <a:off x="971910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BC3F6347-45E0-4269-9095-CF091C1066CD}"/>
              </a:ext>
            </a:extLst>
          </p:cNvPr>
          <p:cNvSpPr txBox="1"/>
          <p:nvPr/>
        </p:nvSpPr>
        <p:spPr>
          <a:xfrm>
            <a:off x="373500" y="99354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Local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Assessment</a:t>
            </a: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 &amp; Inputs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23F73000-21E7-40C1-B319-E448D9CE35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7571535"/>
              </p:ext>
            </p:extLst>
          </p:nvPr>
        </p:nvGraphicFramePr>
        <p:xfrm>
          <a:off x="373499" y="3410884"/>
          <a:ext cx="11392898" cy="1005840"/>
        </p:xfrm>
        <a:graphic>
          <a:graphicData uri="http://schemas.openxmlformats.org/drawingml/2006/table">
            <a:tbl>
              <a:tblPr/>
              <a:tblGrid>
                <a:gridCol w="10917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5155">
                  <a:extLst>
                    <a:ext uri="{9D8B030D-6E8A-4147-A177-3AD203B41FA5}">
                      <a16:colId xmlns:a16="http://schemas.microsoft.com/office/drawing/2014/main" val="384561633"/>
                    </a:ext>
                  </a:extLst>
                </a:gridCol>
                <a:gridCol w="2623035">
                  <a:extLst>
                    <a:ext uri="{9D8B030D-6E8A-4147-A177-3AD203B41FA5}">
                      <a16:colId xmlns:a16="http://schemas.microsoft.com/office/drawing/2014/main" val="921812100"/>
                    </a:ext>
                  </a:extLst>
                </a:gridCol>
                <a:gridCol w="1707772">
                  <a:extLst>
                    <a:ext uri="{9D8B030D-6E8A-4147-A177-3AD203B41FA5}">
                      <a16:colId xmlns:a16="http://schemas.microsoft.com/office/drawing/2014/main" val="4089891530"/>
                    </a:ext>
                  </a:extLst>
                </a:gridCol>
                <a:gridCol w="722048">
                  <a:extLst>
                    <a:ext uri="{9D8B030D-6E8A-4147-A177-3AD203B41FA5}">
                      <a16:colId xmlns:a16="http://schemas.microsoft.com/office/drawing/2014/main" val="1542921772"/>
                    </a:ext>
                  </a:extLst>
                </a:gridCol>
                <a:gridCol w="1276368">
                  <a:extLst>
                    <a:ext uri="{9D8B030D-6E8A-4147-A177-3AD203B41FA5}">
                      <a16:colId xmlns:a16="http://schemas.microsoft.com/office/drawing/2014/main" val="1585417047"/>
                    </a:ext>
                  </a:extLst>
                </a:gridCol>
                <a:gridCol w="1588997">
                  <a:extLst>
                    <a:ext uri="{9D8B030D-6E8A-4147-A177-3AD203B41FA5}">
                      <a16:colId xmlns:a16="http://schemas.microsoft.com/office/drawing/2014/main" val="1856661771"/>
                    </a:ext>
                  </a:extLst>
                </a:gridCol>
                <a:gridCol w="912465">
                  <a:extLst>
                    <a:ext uri="{9D8B030D-6E8A-4147-A177-3AD203B41FA5}">
                      <a16:colId xmlns:a16="http://schemas.microsoft.com/office/drawing/2014/main" val="890571747"/>
                    </a:ext>
                  </a:extLst>
                </a:gridCol>
                <a:gridCol w="865315">
                  <a:extLst>
                    <a:ext uri="{9D8B030D-6E8A-4147-A177-3AD203B41FA5}">
                      <a16:colId xmlns:a16="http://schemas.microsoft.com/office/drawing/2014/main" val="41579248"/>
                    </a:ext>
                  </a:extLst>
                </a:gridCol>
              </a:tblGrid>
              <a:tr h="51127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200" b="1" i="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"/>
                          <a:cs typeface="Calibri"/>
                        </a:rPr>
                        <a:t>CHIL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_tradnl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WIP Revisión categorización a FV de cartera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WIP actualización datos estáticos</a:t>
                      </a:r>
                      <a:r>
                        <a:rPr lang="es-ES_tradnl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 de AC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_tradnl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WIP </a:t>
                      </a:r>
                      <a:r>
                        <a:rPr lang="es-ES_tradnl" sz="1000" b="0" i="0" u="none" strike="noStrike" kern="1200" baseline="0" noProof="0" err="1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go</a:t>
                      </a:r>
                      <a:r>
                        <a:rPr lang="es-ES_tradnl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 </a:t>
                      </a:r>
                      <a:r>
                        <a:rPr lang="es-ES_tradnl" sz="1000" b="0" i="0" u="none" strike="noStrike" kern="1200" baseline="0" noProof="0" err="1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live</a:t>
                      </a:r>
                      <a:r>
                        <a:rPr lang="es-ES_tradnl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 y ejecución de paralelo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_tradnl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WIP cierre documentación Delta IR (adaptación a idiosincrasia </a:t>
                      </a:r>
                      <a:r>
                        <a:rPr lang="es-ES_tradnl" sz="1000" b="0" i="0" u="none" strike="noStrike" kern="1200" baseline="0" noProof="0" err="1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locall</a:t>
                      </a:r>
                      <a:r>
                        <a:rPr lang="es-ES_tradnl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rtl="0" eaLnBrk="1" latinLnBrk="0" hangingPunct="1">
                        <a:buFont typeface="Arial" panose="020B0604020202020204" pitchFamily="34" charset="0"/>
                        <a:buNone/>
                      </a:pPr>
                      <a:endParaRPr lang="es-ES"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000" b="0" i="0" u="none" strike="noStrike" kern="1200" baseline="0" err="1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Go</a:t>
                      </a:r>
                      <a:r>
                        <a:rPr lang="es-E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 </a:t>
                      </a:r>
                      <a:r>
                        <a:rPr lang="es-ES" sz="1000" b="0" i="0" u="none" strike="noStrike" kern="1200" baseline="0" err="1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live</a:t>
                      </a:r>
                      <a:endParaRPr lang="es-ES"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Implementación solución propuesta por Metodología para la obtención de datos de IPV en IR Delta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33992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51837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E346533A-D3AF-4813-B21D-B14F8369E1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2218757"/>
              </p:ext>
            </p:extLst>
          </p:nvPr>
        </p:nvGraphicFramePr>
        <p:xfrm>
          <a:off x="373499" y="1332101"/>
          <a:ext cx="11392898" cy="2233245"/>
        </p:xfrm>
        <a:graphic>
          <a:graphicData uri="http://schemas.openxmlformats.org/drawingml/2006/table">
            <a:tbl>
              <a:tblPr/>
              <a:tblGrid>
                <a:gridCol w="10917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5155">
                  <a:extLst>
                    <a:ext uri="{9D8B030D-6E8A-4147-A177-3AD203B41FA5}">
                      <a16:colId xmlns:a16="http://schemas.microsoft.com/office/drawing/2014/main" val="384561633"/>
                    </a:ext>
                  </a:extLst>
                </a:gridCol>
                <a:gridCol w="3052394">
                  <a:extLst>
                    <a:ext uri="{9D8B030D-6E8A-4147-A177-3AD203B41FA5}">
                      <a16:colId xmlns:a16="http://schemas.microsoft.com/office/drawing/2014/main" val="921812100"/>
                    </a:ext>
                  </a:extLst>
                </a:gridCol>
                <a:gridCol w="1278413">
                  <a:extLst>
                    <a:ext uri="{9D8B030D-6E8A-4147-A177-3AD203B41FA5}">
                      <a16:colId xmlns:a16="http://schemas.microsoft.com/office/drawing/2014/main" val="4089891530"/>
                    </a:ext>
                  </a:extLst>
                </a:gridCol>
                <a:gridCol w="722048">
                  <a:extLst>
                    <a:ext uri="{9D8B030D-6E8A-4147-A177-3AD203B41FA5}">
                      <a16:colId xmlns:a16="http://schemas.microsoft.com/office/drawing/2014/main" val="1542921772"/>
                    </a:ext>
                  </a:extLst>
                </a:gridCol>
                <a:gridCol w="1276368">
                  <a:extLst>
                    <a:ext uri="{9D8B030D-6E8A-4147-A177-3AD203B41FA5}">
                      <a16:colId xmlns:a16="http://schemas.microsoft.com/office/drawing/2014/main" val="1585417047"/>
                    </a:ext>
                  </a:extLst>
                </a:gridCol>
                <a:gridCol w="1588997">
                  <a:extLst>
                    <a:ext uri="{9D8B030D-6E8A-4147-A177-3AD203B41FA5}">
                      <a16:colId xmlns:a16="http://schemas.microsoft.com/office/drawing/2014/main" val="1856661771"/>
                    </a:ext>
                  </a:extLst>
                </a:gridCol>
                <a:gridCol w="1072673">
                  <a:extLst>
                    <a:ext uri="{9D8B030D-6E8A-4147-A177-3AD203B41FA5}">
                      <a16:colId xmlns:a16="http://schemas.microsoft.com/office/drawing/2014/main" val="890571747"/>
                    </a:ext>
                  </a:extLst>
                </a:gridCol>
                <a:gridCol w="705107">
                  <a:extLst>
                    <a:ext uri="{9D8B030D-6E8A-4147-A177-3AD203B41FA5}">
                      <a16:colId xmlns:a16="http://schemas.microsoft.com/office/drawing/2014/main" val="41579248"/>
                    </a:ext>
                  </a:extLst>
                </a:gridCol>
              </a:tblGrid>
              <a:tr h="398376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Línea de acció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Estad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Aspectos destac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Riesgos </a:t>
                      </a:r>
                      <a:endParaRPr lang="es-ES" sz="1100" b="1" i="0" u="none" strike="noStrike" noProof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Impact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Hitos afect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Próximos pas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Dueñ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Fecha límit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819693"/>
                  </a:ext>
                </a:extLst>
              </a:tr>
              <a:tr h="3846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1" i="0" u="none" strike="noStrike" err="1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 Light"/>
                          <a:cs typeface="Calibri Light"/>
                        </a:rPr>
                        <a:t>Definition</a:t>
                      </a:r>
                      <a:r>
                        <a:rPr lang="es-ES" sz="1200" b="1" i="0" u="none" strike="noStrike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 Light"/>
                          <a:cs typeface="Calibri Light"/>
                        </a:rPr>
                        <a:t> I/II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kumimoji="0" lang="es-E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n-US">
                        <a:solidFill>
                          <a:schemeClr val="tx1"/>
                        </a:solidFill>
                        <a:latin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s-ES_tradnl"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uLnTx/>
                        <a:uFillTx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s-ES" sz="1000" b="0" i="0" u="none" strike="noStrike" kern="1200" baseline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3399217"/>
                  </a:ext>
                </a:extLst>
              </a:tr>
              <a:tr h="522262">
                <a:tc rowSpan="3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</a:pPr>
                      <a:r>
                        <a:rPr lang="es-ES_tradnl" sz="1100" b="1" i="0" u="sng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MoRi</a:t>
                      </a:r>
                      <a:r>
                        <a:rPr lang="es-ES_tradnl" sz="1100" b="1" i="0" u="sng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</a:t>
                      </a:r>
                      <a:r>
                        <a:rPr lang="es-ES_tradnl" sz="1100" b="1" i="0" u="sng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Review</a:t>
                      </a:r>
                      <a:endParaRPr lang="es-ES" sz="1100" b="1" i="0" u="sng" strike="noStrike" kern="1200" noProof="0" err="1">
                        <a:solidFill>
                          <a:srgbClr val="000000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n-US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es-ES" sz="1000" b="1" i="0" u="none" strike="noStrike" kern="120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Model</a:t>
                      </a:r>
                      <a:r>
                        <a:rPr lang="es-ES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</a:t>
                      </a:r>
                      <a:r>
                        <a:rPr lang="es-ES" sz="1000" b="1" i="0" u="none" strike="noStrike" kern="120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Theory</a:t>
                      </a:r>
                      <a:r>
                        <a:rPr lang="es-ES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&amp; </a:t>
                      </a:r>
                      <a:r>
                        <a:rPr lang="es-ES" sz="1000" b="1" i="0" u="none" strike="noStrike" kern="120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Corporatie</a:t>
                      </a:r>
                      <a:r>
                        <a:rPr lang="es-ES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Guide</a:t>
                      </a:r>
                      <a:r>
                        <a:rPr lang="es-E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: A la espera de aprobación de MR para compartir con IVT</a:t>
                      </a:r>
                      <a:endParaRPr lang="es-ES" sz="1000" b="0" i="0" u="none" strike="noStrike" kern="1200" noProof="0">
                        <a:solidFill>
                          <a:schemeClr val="tx1"/>
                        </a:solidFill>
                        <a:effectLst/>
                        <a:latin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Entrega a IVT</a:t>
                      </a:r>
                      <a:r>
                        <a:rPr lang="es-E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 </a:t>
                      </a:r>
                      <a:endParaRPr lang="es-ES" sz="1000"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A. </a:t>
                      </a:r>
                      <a:r>
                        <a:rPr lang="es-E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Labanda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N. Díaz de Rad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0" i="0" u="none" strike="sng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23/12/2021</a:t>
                      </a:r>
                    </a:p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17/06/2022</a:t>
                      </a:r>
                      <a:endParaRPr lang="es-ES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0480928"/>
                  </a:ext>
                </a:extLst>
              </a:tr>
              <a:tr h="45228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100" b="1" i="0" u="sng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Bon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Light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n-US" sz="2000">
                        <a:solidFill>
                          <a:schemeClr val="tx1"/>
                        </a:solidFill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es-ES" sz="1000" b="1" i="0" u="none" strike="noStrike" kern="120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MoRi</a:t>
                      </a:r>
                      <a:r>
                        <a:rPr lang="es-ES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</a:t>
                      </a:r>
                      <a:r>
                        <a:rPr lang="es-ES" sz="1000" b="1" i="0" u="none" strike="noStrike" kern="120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identification</a:t>
                      </a:r>
                      <a:r>
                        <a:rPr lang="es-ES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: </a:t>
                      </a:r>
                      <a:r>
                        <a:rPr lang="es-E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Concluido</a:t>
                      </a:r>
                      <a:endParaRPr lang="en-US" sz="1000"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Wingdings" panose="05000000000000000000" pitchFamily="2" charset="2"/>
                        <a:buChar char="v"/>
                      </a:pPr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Wingdings" panose="05000000000000000000" pitchFamily="2" charset="2"/>
                        <a:buChar char="v"/>
                      </a:pPr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Wingdings" panose="05000000000000000000" pitchFamily="2" charset="2"/>
                        <a:buChar char="v"/>
                      </a:pP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s-ES" sz="100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A. </a:t>
                      </a:r>
                      <a:r>
                        <a:rPr kumimoji="0" lang="es-ES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Labanda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J. San Miguel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N. Díaz de Rad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000" b="0" i="0" u="none" strike="sng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25/02/202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2201372"/>
                  </a:ext>
                </a:extLst>
              </a:tr>
              <a:tr h="44245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100" b="1" i="0" u="sng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Concentration</a:t>
                      </a:r>
                      <a:endParaRPr lang="es-ES" sz="1100" b="1" i="0" u="sng" strike="noStrike" kern="1200" noProof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 Light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n-US" sz="2000">
                        <a:solidFill>
                          <a:schemeClr val="tx1"/>
                        </a:solidFill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ES" sz="1000" b="1" i="0" u="none" strike="noStrike" kern="120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MoRi</a:t>
                      </a:r>
                      <a:r>
                        <a:rPr lang="es-ES" sz="10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</a:t>
                      </a:r>
                      <a:r>
                        <a:rPr lang="es-ES" sz="1000" b="1" i="0" u="none" strike="noStrike" kern="120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ssessment</a:t>
                      </a:r>
                      <a:r>
                        <a:rPr lang="es-ES" sz="1000" b="1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: </a:t>
                      </a:r>
                      <a:r>
                        <a:rPr lang="es-ES" sz="10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Concluido</a:t>
                      </a:r>
                      <a:endParaRPr lang="es-ES" sz="1000"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00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/>
                        <a:buChar char="•"/>
                      </a:pP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171450" lvl="0" indent="-171450" algn="l">
                        <a:buFont typeface="Arial"/>
                        <a:buChar char="•"/>
                      </a:pP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s-E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cs typeface="Calibri Light"/>
                        </a:rPr>
                        <a:t>A. </a:t>
                      </a:r>
                      <a:r>
                        <a:rPr lang="es-ES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cs typeface="Calibri Light"/>
                        </a:rPr>
                        <a:t>Labanda</a:t>
                      </a:r>
                      <a:endParaRPr lang="es-ES" sz="1000" err="1">
                        <a:latin typeface="Calibri Light"/>
                        <a:cs typeface="Calibri Light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N. Díaz de Rada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0" i="0" u="none" strike="sng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01/04/2022</a:t>
                      </a:r>
                    </a:p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29/04/2022</a:t>
                      </a:r>
                      <a:endParaRPr lang="es-ES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38944"/>
                  </a:ext>
                </a:extLst>
              </a:tr>
            </a:tbl>
          </a:graphicData>
        </a:graphic>
      </p:graphicFrame>
      <p:sp>
        <p:nvSpPr>
          <p:cNvPr id="28" name="Flecha abajo 30">
            <a:extLst>
              <a:ext uri="{FF2B5EF4-FFF2-40B4-BE49-F238E27FC236}">
                <a16:creationId xmlns:a16="http://schemas.microsoft.com/office/drawing/2014/main" id="{224BEBC2-3D5D-4E4E-8CE5-B3EF9F6CBD7A}"/>
              </a:ext>
            </a:extLst>
          </p:cNvPr>
          <p:cNvSpPr/>
          <p:nvPr/>
        </p:nvSpPr>
        <p:spPr>
          <a:xfrm rot="16200000">
            <a:off x="10850394" y="-181510"/>
            <a:ext cx="188435" cy="11880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9" name="Text Box 10">
            <a:extLst>
              <a:ext uri="{FF2B5EF4-FFF2-40B4-BE49-F238E27FC236}">
                <a16:creationId xmlns:a16="http://schemas.microsoft.com/office/drawing/2014/main" id="{2BE21914-2604-4E62-8B55-49AAD4CCEA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52735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1</a:t>
            </a:r>
          </a:p>
        </p:txBody>
      </p:sp>
      <p:sp>
        <p:nvSpPr>
          <p:cNvPr id="30" name="Text Box 10">
            <a:extLst>
              <a:ext uri="{FF2B5EF4-FFF2-40B4-BE49-F238E27FC236}">
                <a16:creationId xmlns:a16="http://schemas.microsoft.com/office/drawing/2014/main" id="{15818F02-0623-43A2-A2DC-C09D5012D3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95673" y="233676"/>
            <a:ext cx="360000" cy="360000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2</a:t>
            </a:r>
            <a:endParaRPr lang="en-US"/>
          </a:p>
        </p:txBody>
      </p:sp>
      <p:sp>
        <p:nvSpPr>
          <p:cNvPr id="31" name="Text Box 10">
            <a:extLst>
              <a:ext uri="{FF2B5EF4-FFF2-40B4-BE49-F238E27FC236}">
                <a16:creationId xmlns:a16="http://schemas.microsoft.com/office/drawing/2014/main" id="{23AB55E0-76E5-4065-981D-7295A78D60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8612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marL="0" marR="0" lvl="0" indent="0" algn="ctr" defTabSz="957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2" name="Rectangle 11">
            <a:extLst>
              <a:ext uri="{FF2B5EF4-FFF2-40B4-BE49-F238E27FC236}">
                <a16:creationId xmlns:a16="http://schemas.microsoft.com/office/drawing/2014/main" id="{54811520-2AB5-446C-B673-7B83D35B8E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11577" y="515588"/>
            <a:ext cx="1728192" cy="426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36000" tIns="45671" rIns="36000" bIns="45671" anchor="ctr"/>
          <a:lstStyle/>
          <a:p>
            <a:pPr algn="ctr" defTabSz="914377">
              <a:defRPr/>
            </a:pPr>
            <a:r>
              <a:rPr lang="es-ES" sz="1200" b="1" kern="0" cap="small">
                <a:solidFill>
                  <a:srgbClr val="FF0000"/>
                </a:solidFill>
                <a:latin typeface="Calibri"/>
                <a:cs typeface="Calibri"/>
              </a:rPr>
              <a:t>ESTADO A 29.09.2022</a:t>
            </a:r>
            <a:endParaRPr lang="es-ES" sz="1200" kern="0" cap="small">
              <a:ea typeface="+mn-lt"/>
              <a:cs typeface="+mn-lt"/>
            </a:endParaRPr>
          </a:p>
        </p:txBody>
      </p:sp>
      <p:sp>
        <p:nvSpPr>
          <p:cNvPr id="33" name="TituloSlide">
            <a:extLst>
              <a:ext uri="{FF2B5EF4-FFF2-40B4-BE49-F238E27FC236}">
                <a16:creationId xmlns:a16="http://schemas.microsoft.com/office/drawing/2014/main" id="{66892F0E-786C-4BBB-8E98-13BB246517BE}"/>
              </a:ext>
            </a:extLst>
          </p:cNvPr>
          <p:cNvSpPr txBox="1">
            <a:spLocks/>
          </p:cNvSpPr>
          <p:nvPr/>
        </p:nvSpPr>
        <p:spPr>
          <a:xfrm>
            <a:off x="669432" y="290771"/>
            <a:ext cx="10695254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sz="2800">
                <a:solidFill>
                  <a:srgbClr val="EB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 Risk Advanced Platform</a:t>
            </a:r>
            <a:endParaRPr lang="en-029" sz="2800">
              <a:solidFill>
                <a:srgbClr val="EB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sz="200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VAs AVAs Status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5890C44-3F14-41D3-8F71-B9EE97A41C91}"/>
              </a:ext>
            </a:extLst>
          </p:cNvPr>
          <p:cNvGrpSpPr/>
          <p:nvPr/>
        </p:nvGrpSpPr>
        <p:grpSpPr>
          <a:xfrm>
            <a:off x="5056297" y="6474002"/>
            <a:ext cx="6451802" cy="369332"/>
            <a:chOff x="5056297" y="6382562"/>
            <a:chExt cx="6451802" cy="369332"/>
          </a:xfrm>
        </p:grpSpPr>
        <p:sp>
          <p:nvSpPr>
            <p:cNvPr id="35" name="Rectangle 11">
              <a:extLst>
                <a:ext uri="{FF2B5EF4-FFF2-40B4-BE49-F238E27FC236}">
                  <a16:creationId xmlns:a16="http://schemas.microsoft.com/office/drawing/2014/main" id="{9B6F861A-6BFD-4C17-9DC4-947A478D14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8556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ompleted</a:t>
              </a:r>
            </a:p>
          </p:txBody>
        </p:sp>
        <p:sp>
          <p:nvSpPr>
            <p:cNvPr id="36" name="Rectangle 11">
              <a:extLst>
                <a:ext uri="{FF2B5EF4-FFF2-40B4-BE49-F238E27FC236}">
                  <a16:creationId xmlns:a16="http://schemas.microsoft.com/office/drawing/2014/main" id="{58149165-F2EA-4454-9562-380EC603FB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8299" y="6454663"/>
              <a:ext cx="750152" cy="191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ery delayed 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≥ 30%)</a:t>
              </a:r>
            </a:p>
          </p:txBody>
        </p:sp>
        <p:sp>
          <p:nvSpPr>
            <p:cNvPr id="37" name="Rectangle 11">
              <a:extLst>
                <a:ext uri="{FF2B5EF4-FFF2-40B4-BE49-F238E27FC236}">
                  <a16:creationId xmlns:a16="http://schemas.microsoft.com/office/drawing/2014/main" id="{EA5B3BD4-4FF8-4DC8-AC0A-4A50992A27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1732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o be started</a:t>
              </a:r>
            </a:p>
          </p:txBody>
        </p:sp>
        <p:sp>
          <p:nvSpPr>
            <p:cNvPr id="38" name="Rectangle 11">
              <a:extLst>
                <a:ext uri="{FF2B5EF4-FFF2-40B4-BE49-F238E27FC236}">
                  <a16:creationId xmlns:a16="http://schemas.microsoft.com/office/drawing/2014/main" id="{081C1E56-98B5-4423-A969-51C26108D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06236" y="6455802"/>
              <a:ext cx="801863" cy="199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 Risk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Issues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Dependencie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AB8F457-13A4-4766-AF74-D4B429B3D1B9}"/>
                </a:ext>
              </a:extLst>
            </p:cNvPr>
            <p:cNvSpPr txBox="1"/>
            <p:nvPr/>
          </p:nvSpPr>
          <p:spPr>
            <a:xfrm>
              <a:off x="5056297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6899C93-A292-444B-A6B1-61B2851635B7}"/>
                </a:ext>
              </a:extLst>
            </p:cNvPr>
            <p:cNvSpPr txBox="1"/>
            <p:nvPr/>
          </p:nvSpPr>
          <p:spPr>
            <a:xfrm>
              <a:off x="586576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1" name="Rectangle 11">
              <a:extLst>
                <a:ext uri="{FF2B5EF4-FFF2-40B4-BE49-F238E27FC236}">
                  <a16:creationId xmlns:a16="http://schemas.microsoft.com/office/drawing/2014/main" id="{547BE698-D924-4347-AB67-5214BB4C45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2909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elayed / Slightly delayed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4C823C0-7B61-4471-B595-6000DD2D5EB5}"/>
                </a:ext>
              </a:extLst>
            </p:cNvPr>
            <p:cNvSpPr txBox="1"/>
            <p:nvPr/>
          </p:nvSpPr>
          <p:spPr>
            <a:xfrm>
              <a:off x="6865731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E5AB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E5AB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3" name="Rectangle 11">
              <a:extLst>
                <a:ext uri="{FF2B5EF4-FFF2-40B4-BE49-F238E27FC236}">
                  <a16:creationId xmlns:a16="http://schemas.microsoft.com/office/drawing/2014/main" id="{4145AFF9-1CE2-40F9-8858-38241F225A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8838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On time / Ahead of plan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2745AD2B-74D2-4DA1-9B95-2F7CB430F801}"/>
                </a:ext>
              </a:extLst>
            </p:cNvPr>
            <p:cNvSpPr txBox="1"/>
            <p:nvPr/>
          </p:nvSpPr>
          <p:spPr>
            <a:xfrm>
              <a:off x="8261938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62D7F36-705C-4EA5-A8EC-D932487FB1DB}"/>
                </a:ext>
              </a:extLst>
            </p:cNvPr>
            <p:cNvSpPr txBox="1"/>
            <p:nvPr/>
          </p:nvSpPr>
          <p:spPr>
            <a:xfrm>
              <a:off x="971910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BC3F6347-45E0-4269-9095-CF091C1066CD}"/>
              </a:ext>
            </a:extLst>
          </p:cNvPr>
          <p:cNvSpPr txBox="1"/>
          <p:nvPr/>
        </p:nvSpPr>
        <p:spPr>
          <a:xfrm>
            <a:off x="373500" y="99354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Cross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Definition</a:t>
            </a: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,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Implementation</a:t>
            </a: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 &amp;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Validation</a:t>
            </a: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325339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E346533A-D3AF-4813-B21D-B14F8369E1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1269701"/>
              </p:ext>
            </p:extLst>
          </p:nvPr>
        </p:nvGraphicFramePr>
        <p:xfrm>
          <a:off x="373499" y="1332103"/>
          <a:ext cx="11392898" cy="4944548"/>
        </p:xfrm>
        <a:graphic>
          <a:graphicData uri="http://schemas.openxmlformats.org/drawingml/2006/table">
            <a:tbl>
              <a:tblPr/>
              <a:tblGrid>
                <a:gridCol w="10917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5155">
                  <a:extLst>
                    <a:ext uri="{9D8B030D-6E8A-4147-A177-3AD203B41FA5}">
                      <a16:colId xmlns:a16="http://schemas.microsoft.com/office/drawing/2014/main" val="384561633"/>
                    </a:ext>
                  </a:extLst>
                </a:gridCol>
                <a:gridCol w="3052394">
                  <a:extLst>
                    <a:ext uri="{9D8B030D-6E8A-4147-A177-3AD203B41FA5}">
                      <a16:colId xmlns:a16="http://schemas.microsoft.com/office/drawing/2014/main" val="921812100"/>
                    </a:ext>
                  </a:extLst>
                </a:gridCol>
                <a:gridCol w="1460889">
                  <a:extLst>
                    <a:ext uri="{9D8B030D-6E8A-4147-A177-3AD203B41FA5}">
                      <a16:colId xmlns:a16="http://schemas.microsoft.com/office/drawing/2014/main" val="4089891530"/>
                    </a:ext>
                  </a:extLst>
                </a:gridCol>
                <a:gridCol w="539572">
                  <a:extLst>
                    <a:ext uri="{9D8B030D-6E8A-4147-A177-3AD203B41FA5}">
                      <a16:colId xmlns:a16="http://schemas.microsoft.com/office/drawing/2014/main" val="1542921772"/>
                    </a:ext>
                  </a:extLst>
                </a:gridCol>
                <a:gridCol w="1276368">
                  <a:extLst>
                    <a:ext uri="{9D8B030D-6E8A-4147-A177-3AD203B41FA5}">
                      <a16:colId xmlns:a16="http://schemas.microsoft.com/office/drawing/2014/main" val="1585417047"/>
                    </a:ext>
                  </a:extLst>
                </a:gridCol>
                <a:gridCol w="1588997">
                  <a:extLst>
                    <a:ext uri="{9D8B030D-6E8A-4147-A177-3AD203B41FA5}">
                      <a16:colId xmlns:a16="http://schemas.microsoft.com/office/drawing/2014/main" val="1856661771"/>
                    </a:ext>
                  </a:extLst>
                </a:gridCol>
                <a:gridCol w="1072673">
                  <a:extLst>
                    <a:ext uri="{9D8B030D-6E8A-4147-A177-3AD203B41FA5}">
                      <a16:colId xmlns:a16="http://schemas.microsoft.com/office/drawing/2014/main" val="890571747"/>
                    </a:ext>
                  </a:extLst>
                </a:gridCol>
                <a:gridCol w="705107">
                  <a:extLst>
                    <a:ext uri="{9D8B030D-6E8A-4147-A177-3AD203B41FA5}">
                      <a16:colId xmlns:a16="http://schemas.microsoft.com/office/drawing/2014/main" val="41579248"/>
                    </a:ext>
                  </a:extLst>
                </a:gridCol>
              </a:tblGrid>
              <a:tr h="3670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Línea de acció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Estad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Aspectos destac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Riesgos 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Impact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Hitos afect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Próximos pas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Dueñ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Fecha límit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819693"/>
                  </a:ext>
                </a:extLst>
              </a:tr>
              <a:tr h="654225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s-ES" sz="1100" b="1" i="0" u="sng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MoRi </a:t>
                      </a:r>
                      <a:r>
                        <a:rPr lang="es-ES_tradnl" sz="1100" b="1" i="0" u="sng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Definition</a:t>
                      </a:r>
                      <a:endParaRPr lang="en-US" sz="1100" b="1" i="0" u="sng" strike="noStrike" kern="1200">
                        <a:solidFill>
                          <a:srgbClr val="000000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sym typeface="Wingdings"/>
                        </a:rPr>
                        <a:t></a:t>
                      </a:r>
                      <a:endParaRPr lang="en-US">
                        <a:solidFill>
                          <a:srgbClr val="92D050"/>
                        </a:solidFill>
                        <a:sym typeface="Wingding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E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MoRi IR: </a:t>
                      </a:r>
                    </a:p>
                    <a:p>
                      <a:pPr marL="628650" marR="0" lvl="1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Swaps Titulizaciones: WIP Actualización documentación Quants IR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endParaRPr lang="en-US" sz="100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s-ES" sz="1000" b="1" i="0" u="none" strike="noStrike" kern="1200" noProof="0">
                        <a:solidFill>
                          <a:srgbClr val="92D050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ctr">
                        <a:buFont typeface="Arial"/>
                        <a:buChar char="•"/>
                      </a:pP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s-E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ctualización FVA/AVA Swaps Titulizaciones y entrega a IVT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A. Labanda</a:t>
                      </a:r>
                      <a:endParaRPr kumimoji="0" lang="en-US"/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J. San Miguel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D. Alonso</a:t>
                      </a:r>
                    </a:p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Quants IR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30.09.202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3399217"/>
                  </a:ext>
                </a:extLst>
              </a:tr>
              <a:tr h="1292492">
                <a:tc vMerge="1"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100" b="1" i="0" u="sng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Ri </a:t>
                      </a:r>
                      <a:endParaRPr lang="en-US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100" b="1" i="0" u="sng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curitization</a:t>
                      </a:r>
                      <a:r>
                        <a:rPr lang="es-ES" sz="1100" b="1" i="0" u="sng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wap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Calibri"/>
                          <a:sym typeface="Wingdings"/>
                        </a:rPr>
                        <a:t></a:t>
                      </a:r>
                      <a:endParaRPr lang="en-US">
                        <a:solidFill>
                          <a:schemeClr val="accent6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ES" sz="1000" b="1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MoRi EQ:</a:t>
                      </a:r>
                    </a:p>
                    <a:p>
                      <a:pPr marL="628650" lvl="1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A</a:t>
                      </a:r>
                      <a:r>
                        <a:rPr lang="es-E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probada financiación del desarrollo de 2 nuevos circuitos AC-&gt;MX3EQ (shift volas swaption y correl EQ-IR) para el nuevo FVA por tipos estocásticos</a:t>
                      </a:r>
                    </a:p>
                    <a:p>
                      <a:pPr marL="628650" lvl="1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Gaps en el aprovisionamiento de datos para el LVHW (vol IR y la correl EQ-IR)</a:t>
                      </a:r>
                      <a:endParaRPr lang="es-ES" sz="1000" b="0" i="0" u="none" strike="noStrike" kern="1200" baseline="0" noProof="0"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00" b="1" i="0" u="none" strike="noStrike" kern="1200" noProof="0">
                          <a:solidFill>
                            <a:srgbClr val="FFC000"/>
                          </a:solidFill>
                          <a:effectLst/>
                          <a:latin typeface="Calibri Light"/>
                          <a:cs typeface="Calibri Light"/>
                        </a:rPr>
                        <a:t>MEDIO</a:t>
                      </a:r>
                      <a:endParaRPr lang="en-US" sz="1000"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ctr">
                        <a:buFont typeface="Arial"/>
                        <a:buChar char="•"/>
                      </a:pP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s-ES_tradnl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ctualizar documentación FVA/AVA SLV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s-ES_tradnl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utomatización circuitos   </a:t>
                      </a:r>
                      <a:r>
                        <a:rPr lang="es-ES_tradnl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vol</a:t>
                      </a:r>
                      <a:r>
                        <a:rPr lang="es-ES_tradnl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IR y </a:t>
                      </a:r>
                      <a:r>
                        <a:rPr lang="es-ES_tradnl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correl</a:t>
                      </a:r>
                      <a:r>
                        <a:rPr lang="es-ES_tradnl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EQ-IR de AC a MX3EQ.</a:t>
                      </a:r>
                      <a:endParaRPr lang="es-ES_tradnl"/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s-E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Conclusiones prueba solución </a:t>
                      </a:r>
                      <a:r>
                        <a:rPr lang="es-ES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tactica</a:t>
                      </a:r>
                      <a:r>
                        <a:rPr lang="es-E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 AVA </a:t>
                      </a:r>
                      <a:r>
                        <a:rPr lang="es-ES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utocall</a:t>
                      </a:r>
                      <a:r>
                        <a:rPr lang="es-E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y </a:t>
                      </a:r>
                      <a:r>
                        <a:rPr lang="es-ES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envio</a:t>
                      </a:r>
                      <a:r>
                        <a:rPr lang="es-E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a IVT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_trad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cs typeface="Calibri Light"/>
                        </a:rPr>
                        <a:t>Luis Martín</a:t>
                      </a:r>
                      <a:endParaRPr lang="es-E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 Light"/>
                        <a:cs typeface="Calibri Light"/>
                      </a:endParaRP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_trad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cs typeface="Calibri Light"/>
                        </a:rPr>
                        <a:t>Javier Sarasola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_trad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cs typeface="Calibri Light"/>
                        </a:rPr>
                        <a:t>Javier </a:t>
                      </a:r>
                      <a:r>
                        <a:rPr lang="es-ES_tradnl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cs typeface="Calibri Light"/>
                        </a:rPr>
                        <a:t>Carrion</a:t>
                      </a:r>
                      <a:endParaRPr lang="es-ES_tradnl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 Light"/>
                        <a:cs typeface="Calibri Light"/>
                      </a:endParaRP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_trad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cs typeface="Calibri Light"/>
                        </a:rPr>
                        <a:t>Alejandro Sainz</a:t>
                      </a:r>
                      <a:endParaRPr lang="es-E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 Light"/>
                        <a:cs typeface="Calibri Light"/>
                      </a:endParaRP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_tradnl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cs typeface="Calibri Light"/>
                        </a:rPr>
                        <a:t>Quants</a:t>
                      </a:r>
                      <a:r>
                        <a:rPr lang="es-ES_tradnl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cs typeface="Calibri Light"/>
                        </a:rPr>
                        <a:t> EQ</a:t>
                      </a:r>
                      <a:endParaRPr lang="es-E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 Light"/>
                        <a:cs typeface="Calibri Ligh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30/06/202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0155102"/>
                  </a:ext>
                </a:extLst>
              </a:tr>
              <a:tr h="686139">
                <a:tc vMerge="1"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100" b="1" i="0" u="sng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MoRi </a:t>
                      </a:r>
                      <a:r>
                        <a:rPr lang="es-ES" sz="1100" b="1" i="0" u="sng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Risky</a:t>
                      </a:r>
                      <a:r>
                        <a:rPr lang="es-ES" sz="1100" b="1" i="0" u="sng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 Loan</a:t>
                      </a:r>
                      <a:endParaRPr lang="en-US" sz="1100" b="1" i="0" u="sng" strike="noStrike" kern="120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sym typeface="Wingdings"/>
                        </a:rPr>
                        <a:t></a:t>
                      </a:r>
                      <a:endParaRPr kumimoji="0" lang="en-US">
                        <a:solidFill>
                          <a:srgbClr val="92D050"/>
                        </a:solidFill>
                        <a:latin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ES" sz="1000" b="1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MoRi CR: </a:t>
                      </a:r>
                      <a:endParaRPr lang="en-US" sz="1000">
                        <a:latin typeface="Calibri Light"/>
                        <a:cs typeface="Calibri Light"/>
                      </a:endParaRPr>
                    </a:p>
                    <a:p>
                      <a:pPr marL="628650" marR="0" lvl="1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Risky Loan – Cerrado enfoque AVA MoRi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_tradnl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Pendiente fees por operación (no certificadas por contabilidad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_tradnl" sz="1000" b="1" i="0" u="none" strike="noStrike" kern="1200">
                          <a:solidFill>
                            <a:srgbClr val="FFC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MEDIO</a:t>
                      </a:r>
                      <a:endParaRPr lang="es-ES_tradnl" sz="1000" b="1" i="0" u="none" strike="noStrike" kern="1200">
                        <a:solidFill>
                          <a:srgbClr val="92D050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ctr">
                        <a:buFont typeface="Arial"/>
                        <a:buChar char="•"/>
                      </a:pP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Análisis datos de operaciones y definición enfoque</a:t>
                      </a:r>
                      <a:endParaRPr lang="es-E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A. </a:t>
                      </a:r>
                      <a:r>
                        <a:rPr kumimoji="0" lang="es-ES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Labanda</a:t>
                      </a:r>
                      <a:endParaRPr kumimoji="0" lang="es-E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A. Muñoz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D. Alonso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ACPM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30/11/202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0480928"/>
                  </a:ext>
                </a:extLst>
              </a:tr>
              <a:tr h="86166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n-US" sz="1100" b="1" i="0" u="sng" strike="noStrike" kern="120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uLnTx/>
                          <a:uFillTx/>
                          <a:latin typeface="Calibri Light"/>
                          <a:cs typeface="Calibri Light"/>
                          <a:sym typeface="Wingdings"/>
                        </a:rPr>
                        <a:t></a:t>
                      </a:r>
                      <a:endParaRPr kumimoji="0" lang="en-US" sz="2000">
                        <a:solidFill>
                          <a:schemeClr val="bg1">
                            <a:lumMod val="65000"/>
                          </a:schemeClr>
                        </a:solidFill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1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MoRi FX: </a:t>
                      </a:r>
                    </a:p>
                    <a:p>
                      <a:pPr marL="628650" marR="0" lvl="1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Mixing Weight  – WIP planificación nuevo desarrollo FVA/AVA calibrando a mercado. Follow-up procesamiento chats BBG.</a:t>
                      </a:r>
                    </a:p>
                    <a:p>
                      <a:pPr marL="628650" marR="0" lvl="1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Obtención plantilla calibración de Quants y análisis para su uso en Valoración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000"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s-ES" sz="1000" b="1" i="0" u="none" strike="noStrike" noProof="0">
                        <a:solidFill>
                          <a:srgbClr val="FFC000"/>
                        </a:solidFill>
                        <a:latin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ctr">
                        <a:buFont typeface="Arial"/>
                        <a:buChar char="•"/>
                      </a:pP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Procesamiento información de mercado para calibrar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A. Labanda</a:t>
                      </a:r>
                    </a:p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David Alonso</a:t>
                      </a:r>
                    </a:p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Quants FX</a:t>
                      </a:r>
                      <a:endParaRPr lang="es-ES"/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30/12/202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2201372"/>
                  </a:ext>
                </a:extLst>
              </a:tr>
              <a:tr h="82974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n-US" sz="1100" b="1" i="0" u="sng" strike="noStrike" kern="120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uLnTx/>
                          <a:uFillTx/>
                          <a:latin typeface="Calibri Light"/>
                          <a:cs typeface="Calibri Light"/>
                          <a:sym typeface="Wingdings"/>
                        </a:rPr>
                        <a:t>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s-ES" sz="1000" b="1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MoRi INF:</a:t>
                      </a:r>
                    </a:p>
                    <a:p>
                      <a:pPr marL="628650" marR="0" lvl="1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LPI Swaps- WIP solución estratégica: Follow-up calibración HW para FVA y AVA (QRG ejecutará para SanUK y SLB).</a:t>
                      </a:r>
                    </a:p>
                    <a:p>
                      <a:pPr marL="6286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PAYG – WIP calibración LMM para FVA y AV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s-ES_tradnl" sz="1000" b="0" i="0" u="none" strike="noStrike">
                        <a:solidFill>
                          <a:srgbClr val="000000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_tradnl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PAYG: Pte  productivización modelo de convexidad FVA/AVA.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00" b="1" i="0" u="none" strike="noStrike" kern="1200" noProof="0">
                          <a:solidFill>
                            <a:srgbClr val="92D050"/>
                          </a:solidFill>
                          <a:effectLst/>
                          <a:latin typeface="Calibri Light"/>
                          <a:cs typeface="Calibri Light"/>
                        </a:rPr>
                        <a:t>BAJO</a:t>
                      </a:r>
                      <a:endParaRPr lang="en-US" sz="1000"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ctr">
                        <a:buFont typeface="Arial"/>
                        <a:buChar char="•"/>
                      </a:pP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s-ES" sz="10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Calibrar nuevos FVA y AVA LPI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s-ES" sz="10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Calibrar AVA PAYG en sustitución al AVA Non Material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A. Muñoz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</a:rPr>
                        <a:t>QRG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30/12/202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7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38944"/>
                  </a:ext>
                </a:extLst>
              </a:tr>
            </a:tbl>
          </a:graphicData>
        </a:graphic>
      </p:graphicFrame>
      <p:sp>
        <p:nvSpPr>
          <p:cNvPr id="28" name="Flecha abajo 30">
            <a:extLst>
              <a:ext uri="{FF2B5EF4-FFF2-40B4-BE49-F238E27FC236}">
                <a16:creationId xmlns:a16="http://schemas.microsoft.com/office/drawing/2014/main" id="{224BEBC2-3D5D-4E4E-8CE5-B3EF9F6CBD7A}"/>
              </a:ext>
            </a:extLst>
          </p:cNvPr>
          <p:cNvSpPr/>
          <p:nvPr/>
        </p:nvSpPr>
        <p:spPr>
          <a:xfrm rot="16200000">
            <a:off x="10850394" y="-181510"/>
            <a:ext cx="188435" cy="11880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9" name="Text Box 10">
            <a:extLst>
              <a:ext uri="{FF2B5EF4-FFF2-40B4-BE49-F238E27FC236}">
                <a16:creationId xmlns:a16="http://schemas.microsoft.com/office/drawing/2014/main" id="{2BE21914-2604-4E62-8B55-49AAD4CCEA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52735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1</a:t>
            </a:r>
          </a:p>
        </p:txBody>
      </p:sp>
      <p:sp>
        <p:nvSpPr>
          <p:cNvPr id="30" name="Text Box 10">
            <a:extLst>
              <a:ext uri="{FF2B5EF4-FFF2-40B4-BE49-F238E27FC236}">
                <a16:creationId xmlns:a16="http://schemas.microsoft.com/office/drawing/2014/main" id="{15818F02-0623-43A2-A2DC-C09D5012D3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95673" y="233676"/>
            <a:ext cx="360000" cy="360000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2</a:t>
            </a:r>
            <a:endParaRPr lang="en-US"/>
          </a:p>
        </p:txBody>
      </p:sp>
      <p:sp>
        <p:nvSpPr>
          <p:cNvPr id="31" name="Text Box 10">
            <a:extLst>
              <a:ext uri="{FF2B5EF4-FFF2-40B4-BE49-F238E27FC236}">
                <a16:creationId xmlns:a16="http://schemas.microsoft.com/office/drawing/2014/main" id="{23AB55E0-76E5-4065-981D-7295A78D60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8612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marL="0" marR="0" lvl="0" indent="0" algn="ctr" defTabSz="957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2" name="Rectangle 11">
            <a:extLst>
              <a:ext uri="{FF2B5EF4-FFF2-40B4-BE49-F238E27FC236}">
                <a16:creationId xmlns:a16="http://schemas.microsoft.com/office/drawing/2014/main" id="{54811520-2AB5-446C-B673-7B83D35B8E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11577" y="515588"/>
            <a:ext cx="1728192" cy="426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36000" tIns="45671" rIns="36000" bIns="45671" anchor="ctr"/>
          <a:lstStyle/>
          <a:p>
            <a:pPr algn="ctr" defTabSz="914377">
              <a:defRPr/>
            </a:pPr>
            <a:r>
              <a:rPr lang="es-ES" sz="1200" b="1" kern="0" cap="small">
                <a:solidFill>
                  <a:srgbClr val="FF0000"/>
                </a:solidFill>
                <a:latin typeface="Calibri"/>
                <a:cs typeface="Calibri"/>
              </a:rPr>
              <a:t>ESTADO A 29.09.2022</a:t>
            </a:r>
            <a:endParaRPr lang="es-ES" sz="1200" kern="0" cap="small">
              <a:ea typeface="+mn-lt"/>
              <a:cs typeface="+mn-lt"/>
            </a:endParaRPr>
          </a:p>
        </p:txBody>
      </p:sp>
      <p:sp>
        <p:nvSpPr>
          <p:cNvPr id="33" name="TituloSlide">
            <a:extLst>
              <a:ext uri="{FF2B5EF4-FFF2-40B4-BE49-F238E27FC236}">
                <a16:creationId xmlns:a16="http://schemas.microsoft.com/office/drawing/2014/main" id="{66892F0E-786C-4BBB-8E98-13BB246517BE}"/>
              </a:ext>
            </a:extLst>
          </p:cNvPr>
          <p:cNvSpPr txBox="1">
            <a:spLocks/>
          </p:cNvSpPr>
          <p:nvPr/>
        </p:nvSpPr>
        <p:spPr>
          <a:xfrm>
            <a:off x="669432" y="290771"/>
            <a:ext cx="10695254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sz="2800">
                <a:solidFill>
                  <a:srgbClr val="EB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 Risk Advanced Platform</a:t>
            </a:r>
            <a:endParaRPr lang="en-029" sz="2800">
              <a:solidFill>
                <a:srgbClr val="EB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sz="200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VAs AVAs Status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5890C44-3F14-41D3-8F71-B9EE97A41C91}"/>
              </a:ext>
            </a:extLst>
          </p:cNvPr>
          <p:cNvGrpSpPr/>
          <p:nvPr/>
        </p:nvGrpSpPr>
        <p:grpSpPr>
          <a:xfrm>
            <a:off x="5056297" y="6474002"/>
            <a:ext cx="6451802" cy="369332"/>
            <a:chOff x="5056297" y="6382562"/>
            <a:chExt cx="6451802" cy="369332"/>
          </a:xfrm>
        </p:grpSpPr>
        <p:sp>
          <p:nvSpPr>
            <p:cNvPr id="35" name="Rectangle 11">
              <a:extLst>
                <a:ext uri="{FF2B5EF4-FFF2-40B4-BE49-F238E27FC236}">
                  <a16:creationId xmlns:a16="http://schemas.microsoft.com/office/drawing/2014/main" id="{9B6F861A-6BFD-4C17-9DC4-947A478D14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8556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ompleted</a:t>
              </a:r>
            </a:p>
          </p:txBody>
        </p:sp>
        <p:sp>
          <p:nvSpPr>
            <p:cNvPr id="36" name="Rectangle 11">
              <a:extLst>
                <a:ext uri="{FF2B5EF4-FFF2-40B4-BE49-F238E27FC236}">
                  <a16:creationId xmlns:a16="http://schemas.microsoft.com/office/drawing/2014/main" id="{58149165-F2EA-4454-9562-380EC603FB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8299" y="6454663"/>
              <a:ext cx="750152" cy="191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ery delayed 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≥ 30%)</a:t>
              </a:r>
            </a:p>
          </p:txBody>
        </p:sp>
        <p:sp>
          <p:nvSpPr>
            <p:cNvPr id="37" name="Rectangle 11">
              <a:extLst>
                <a:ext uri="{FF2B5EF4-FFF2-40B4-BE49-F238E27FC236}">
                  <a16:creationId xmlns:a16="http://schemas.microsoft.com/office/drawing/2014/main" id="{EA5B3BD4-4FF8-4DC8-AC0A-4A50992A27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1732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o be started</a:t>
              </a:r>
            </a:p>
          </p:txBody>
        </p:sp>
        <p:sp>
          <p:nvSpPr>
            <p:cNvPr id="38" name="Rectangle 11">
              <a:extLst>
                <a:ext uri="{FF2B5EF4-FFF2-40B4-BE49-F238E27FC236}">
                  <a16:creationId xmlns:a16="http://schemas.microsoft.com/office/drawing/2014/main" id="{081C1E56-98B5-4423-A969-51C26108D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06236" y="6455802"/>
              <a:ext cx="801863" cy="199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 Risk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Issues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Dependencie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AB8F457-13A4-4766-AF74-D4B429B3D1B9}"/>
                </a:ext>
              </a:extLst>
            </p:cNvPr>
            <p:cNvSpPr txBox="1"/>
            <p:nvPr/>
          </p:nvSpPr>
          <p:spPr>
            <a:xfrm>
              <a:off x="5056297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6899C93-A292-444B-A6B1-61B2851635B7}"/>
                </a:ext>
              </a:extLst>
            </p:cNvPr>
            <p:cNvSpPr txBox="1"/>
            <p:nvPr/>
          </p:nvSpPr>
          <p:spPr>
            <a:xfrm>
              <a:off x="586576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1" name="Rectangle 11">
              <a:extLst>
                <a:ext uri="{FF2B5EF4-FFF2-40B4-BE49-F238E27FC236}">
                  <a16:creationId xmlns:a16="http://schemas.microsoft.com/office/drawing/2014/main" id="{547BE698-D924-4347-AB67-5214BB4C45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2909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elayed / Slightly delayed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4C823C0-7B61-4471-B595-6000DD2D5EB5}"/>
                </a:ext>
              </a:extLst>
            </p:cNvPr>
            <p:cNvSpPr txBox="1"/>
            <p:nvPr/>
          </p:nvSpPr>
          <p:spPr>
            <a:xfrm>
              <a:off x="6865731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E5AB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E5AB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3" name="Rectangle 11">
              <a:extLst>
                <a:ext uri="{FF2B5EF4-FFF2-40B4-BE49-F238E27FC236}">
                  <a16:creationId xmlns:a16="http://schemas.microsoft.com/office/drawing/2014/main" id="{4145AFF9-1CE2-40F9-8858-38241F225A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8838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On time / Ahead of plan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2745AD2B-74D2-4DA1-9B95-2F7CB430F801}"/>
                </a:ext>
              </a:extLst>
            </p:cNvPr>
            <p:cNvSpPr txBox="1"/>
            <p:nvPr/>
          </p:nvSpPr>
          <p:spPr>
            <a:xfrm>
              <a:off x="8261938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62D7F36-705C-4EA5-A8EC-D932487FB1DB}"/>
                </a:ext>
              </a:extLst>
            </p:cNvPr>
            <p:cNvSpPr txBox="1"/>
            <p:nvPr/>
          </p:nvSpPr>
          <p:spPr>
            <a:xfrm>
              <a:off x="971910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BC3F6347-45E0-4269-9095-CF091C1066CD}"/>
              </a:ext>
            </a:extLst>
          </p:cNvPr>
          <p:cNvSpPr txBox="1"/>
          <p:nvPr/>
        </p:nvSpPr>
        <p:spPr>
          <a:xfrm>
            <a:off x="373500" y="99354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Cross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Definition</a:t>
            </a: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,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Implementation</a:t>
            </a: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 &amp;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Validation</a:t>
            </a: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207009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9448800" y="6386513"/>
            <a:ext cx="2743200" cy="365125"/>
          </a:xfrm>
        </p:spPr>
        <p:txBody>
          <a:bodyPr/>
          <a:lstStyle/>
          <a:p>
            <a:fld id="{BC0D97B6-E32F-4D7D-B839-7C3B51F2640F}" type="slidenum">
              <a:rPr lang="es-ES" dirty="0" smtClean="0"/>
              <a:pPr/>
              <a:t>1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142854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lecha abajo 20"/>
          <p:cNvSpPr/>
          <p:nvPr/>
        </p:nvSpPr>
        <p:spPr>
          <a:xfrm>
            <a:off x="1091018" y="1659944"/>
            <a:ext cx="308655" cy="601368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ÍNDICE</a:t>
            </a:r>
          </a:p>
        </p:txBody>
      </p:sp>
      <p:grpSp>
        <p:nvGrpSpPr>
          <p:cNvPr id="9" name="Grupo 8"/>
          <p:cNvGrpSpPr/>
          <p:nvPr/>
        </p:nvGrpSpPr>
        <p:grpSpPr>
          <a:xfrm>
            <a:off x="973063" y="1096639"/>
            <a:ext cx="7427987" cy="540000"/>
            <a:chOff x="973063" y="1096639"/>
            <a:chExt cx="7427987" cy="540000"/>
          </a:xfrm>
        </p:grpSpPr>
        <p:sp>
          <p:nvSpPr>
            <p:cNvPr id="4" name="Text Box 10"/>
            <p:cNvSpPr txBox="1">
              <a:spLocks noChangeArrowheads="1"/>
            </p:cNvSpPr>
            <p:nvPr/>
          </p:nvSpPr>
          <p:spPr bwMode="auto">
            <a:xfrm>
              <a:off x="973063" y="1096728"/>
              <a:ext cx="517438" cy="539911"/>
            </a:xfrm>
            <a:prstGeom prst="rect">
              <a:avLst/>
            </a:prstGeom>
            <a:solidFill>
              <a:srgbClr val="FF0000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marL="0" marR="0" lvl="0" indent="0" algn="ctr" defTabSz="957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5" name="Text Placeholder 5"/>
            <p:cNvSpPr txBox="1">
              <a:spLocks/>
            </p:cNvSpPr>
            <p:nvPr/>
          </p:nvSpPr>
          <p:spPr>
            <a:xfrm>
              <a:off x="1610732" y="1096639"/>
              <a:ext cx="6790318" cy="5399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216000" tIns="108000" rIns="109728" bIns="108000" anchor="ctr"/>
            <a:lstStyle>
              <a:defPPr>
                <a:defRPr lang="es-ES"/>
              </a:defPPr>
              <a:lvl1pPr indent="0" defTabSz="957263" fontAlgn="base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sz="1400">
                  <a:solidFill>
                    <a:schemeClr val="tx2"/>
                  </a:solidFill>
                </a:defRPr>
              </a:lvl1pPr>
              <a:lvl2pPr marL="0" marR="0" lvl="1" indent="0" defTabSz="957263" fontAlgn="base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charset="0"/>
                <a:buNone/>
                <a:tabLst/>
                <a:defRPr sz="2400" kern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defRPr>
              </a:lvl2pPr>
              <a:lvl3pPr marL="360000" indent="-180000" defTabSz="957263" fontAlgn="base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sz="1200">
                  <a:solidFill>
                    <a:schemeClr val="tx2"/>
                  </a:solidFill>
                  <a:ea typeface="+mj-ea"/>
                  <a:cs typeface="+mj-cs"/>
                </a:defRPr>
              </a:lvl3pPr>
              <a:lvl4pPr marL="540000" indent="-180000" defTabSz="957263" fontAlgn="base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sz="1200">
                  <a:solidFill>
                    <a:schemeClr val="tx2"/>
                  </a:solidFill>
                  <a:ea typeface="+mj-ea"/>
                  <a:cs typeface="+mj-cs"/>
                </a:defRPr>
              </a:lvl4pPr>
              <a:lvl5pPr marL="720000" indent="-179388" defTabSz="957263" fontAlgn="base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sz="1200">
                  <a:solidFill>
                    <a:schemeClr val="tx2"/>
                  </a:solidFill>
                  <a:ea typeface="+mj-ea"/>
                  <a:cs typeface="+mj-cs"/>
                </a:defRPr>
              </a:lvl5pPr>
              <a:lvl6pPr marL="900000" indent="-180000" defTabSz="859512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baseline="0">
                  <a:solidFill>
                    <a:schemeClr val="accent1"/>
                  </a:solidFill>
                </a:defRPr>
              </a:lvl6pPr>
              <a:lvl7pPr marL="1080000" indent="-180000" defTabSz="859512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>
                  <a:solidFill>
                    <a:schemeClr val="accent1"/>
                  </a:solidFill>
                </a:defRPr>
              </a:lvl7pPr>
              <a:lvl8pPr marL="1260000" indent="-180000" defTabSz="859512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>
                  <a:solidFill>
                    <a:schemeClr val="accent1"/>
                  </a:solidFill>
                </a:defRPr>
              </a:lvl8pPr>
              <a:lvl9pPr marL="1440000" indent="-180000" defTabSz="859512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>
                  <a:solidFill>
                    <a:schemeClr val="accent1"/>
                  </a:solidFill>
                </a:defRPr>
              </a:lvl9pPr>
            </a:lstStyle>
            <a:p>
              <a:r>
                <a:rPr lang="es-ES" sz="24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ronograma</a:t>
              </a:r>
            </a:p>
          </p:txBody>
        </p:sp>
      </p:grpSp>
      <p:grpSp>
        <p:nvGrpSpPr>
          <p:cNvPr id="8" name="Grupo 7"/>
          <p:cNvGrpSpPr/>
          <p:nvPr/>
        </p:nvGrpSpPr>
        <p:grpSpPr>
          <a:xfrm>
            <a:off x="973063" y="2266306"/>
            <a:ext cx="7427987" cy="539999"/>
            <a:chOff x="973063" y="2090819"/>
            <a:chExt cx="7427987" cy="539999"/>
          </a:xfrm>
        </p:grpSpPr>
        <p:sp>
          <p:nvSpPr>
            <p:cNvPr id="6" name="Text Box 10"/>
            <p:cNvSpPr txBox="1">
              <a:spLocks noChangeArrowheads="1"/>
            </p:cNvSpPr>
            <p:nvPr/>
          </p:nvSpPr>
          <p:spPr bwMode="auto">
            <a:xfrm>
              <a:off x="973063" y="2090907"/>
              <a:ext cx="517438" cy="539911"/>
            </a:xfrm>
            <a:prstGeom prst="rect">
              <a:avLst/>
            </a:prstGeom>
            <a:solidFill>
              <a:srgbClr val="FF0000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marL="0" marR="0" lvl="0" indent="0" algn="ctr" defTabSz="957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2</a:t>
              </a:r>
              <a:endPara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7" name="Text Placeholder 5"/>
            <p:cNvSpPr txBox="1">
              <a:spLocks/>
            </p:cNvSpPr>
            <p:nvPr/>
          </p:nvSpPr>
          <p:spPr>
            <a:xfrm>
              <a:off x="1610732" y="2090819"/>
              <a:ext cx="6790318" cy="5399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216000" tIns="108000" rIns="109728" bIns="108000" anchor="ctr"/>
            <a:lstStyle>
              <a:defPPr>
                <a:defRPr lang="es-ES"/>
              </a:defPPr>
              <a:lvl1pPr indent="0" defTabSz="957263" fontAlgn="base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sz="1400">
                  <a:solidFill>
                    <a:schemeClr val="tx2"/>
                  </a:solidFill>
                </a:defRPr>
              </a:lvl1pPr>
              <a:lvl2pPr marL="0" lvl="1" indent="0" defTabSz="957263" fontAlgn="base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charset="0"/>
                <a:buNone/>
                <a:defRPr sz="2400" kern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defRPr>
              </a:lvl2pPr>
              <a:lvl3pPr marL="360000" indent="-180000" defTabSz="957263" fontAlgn="base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sz="1200">
                  <a:solidFill>
                    <a:schemeClr val="tx2"/>
                  </a:solidFill>
                  <a:ea typeface="+mj-ea"/>
                  <a:cs typeface="+mj-cs"/>
                </a:defRPr>
              </a:lvl3pPr>
              <a:lvl4pPr marL="540000" indent="-180000" defTabSz="957263" fontAlgn="base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sz="1200">
                  <a:solidFill>
                    <a:schemeClr val="tx2"/>
                  </a:solidFill>
                  <a:ea typeface="+mj-ea"/>
                  <a:cs typeface="+mj-cs"/>
                </a:defRPr>
              </a:lvl4pPr>
              <a:lvl5pPr marL="720000" indent="-179388" defTabSz="957263" fontAlgn="base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sz="1200">
                  <a:solidFill>
                    <a:schemeClr val="tx2"/>
                  </a:solidFill>
                  <a:ea typeface="+mj-ea"/>
                  <a:cs typeface="+mj-cs"/>
                </a:defRPr>
              </a:lvl5pPr>
              <a:lvl6pPr marL="900000" indent="-180000" defTabSz="859512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baseline="0">
                  <a:solidFill>
                    <a:schemeClr val="accent1"/>
                  </a:solidFill>
                </a:defRPr>
              </a:lvl6pPr>
              <a:lvl7pPr marL="1080000" indent="-180000" defTabSz="859512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>
                  <a:solidFill>
                    <a:schemeClr val="accent1"/>
                  </a:solidFill>
                </a:defRPr>
              </a:lvl7pPr>
              <a:lvl8pPr marL="1260000" indent="-180000" defTabSz="859512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>
                  <a:solidFill>
                    <a:schemeClr val="accent1"/>
                  </a:solidFill>
                </a:defRPr>
              </a:lvl8pPr>
              <a:lvl9pPr marL="1440000" indent="-180000" defTabSz="859512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>
                  <a:solidFill>
                    <a:schemeClr val="accent1"/>
                  </a:solidFill>
                </a:defRPr>
              </a:lvl9pPr>
            </a:lstStyle>
            <a:p>
              <a:pPr lvl="1"/>
              <a:r>
                <a:rPr lang="es-ES"/>
                <a:t>Estado de situación</a:t>
              </a:r>
            </a:p>
          </p:txBody>
        </p:sp>
      </p:grpSp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995231" y="1091186"/>
            <a:ext cx="517438" cy="539911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marL="0" marR="0" lvl="0" indent="0" algn="ctr" defTabSz="957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14" name="Text Placeholder 5"/>
          <p:cNvSpPr txBox="1">
            <a:spLocks/>
          </p:cNvSpPr>
          <p:nvPr/>
        </p:nvSpPr>
        <p:spPr>
          <a:xfrm>
            <a:off x="1632900" y="1091097"/>
            <a:ext cx="6790318" cy="5399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lIns="216000" tIns="108000" rIns="109728" bIns="108000" anchor="ctr"/>
          <a:lstStyle>
            <a:defPPr>
              <a:defRPr lang="es-ES"/>
            </a:defPPr>
            <a:lvl1pPr indent="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sz="1400">
                <a:solidFill>
                  <a:schemeClr val="tx2"/>
                </a:solidFill>
              </a:defRPr>
            </a:lvl1pPr>
            <a:lvl2pPr marL="0" marR="0" lvl="1" indent="0" defTabSz="957263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2400" kern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360000" indent="-18000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sz="1200">
                <a:solidFill>
                  <a:schemeClr val="tx2"/>
                </a:solidFill>
                <a:ea typeface="+mj-ea"/>
                <a:cs typeface="+mj-cs"/>
              </a:defRPr>
            </a:lvl3pPr>
            <a:lvl4pPr marL="540000" indent="-18000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200">
                <a:solidFill>
                  <a:schemeClr val="tx2"/>
                </a:solidFill>
                <a:ea typeface="+mj-ea"/>
                <a:cs typeface="+mj-cs"/>
              </a:defRPr>
            </a:lvl4pPr>
            <a:lvl5pPr marL="720000" indent="-179388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sz="1200">
                <a:solidFill>
                  <a:schemeClr val="tx2"/>
                </a:solidFill>
                <a:ea typeface="+mj-ea"/>
                <a:cs typeface="+mj-cs"/>
              </a:defRPr>
            </a:lvl5pPr>
            <a:lvl6pPr marL="90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baseline="0">
                <a:solidFill>
                  <a:schemeClr val="accent1"/>
                </a:solidFill>
              </a:defRPr>
            </a:lvl6pPr>
            <a:lvl7pPr marL="108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>
                <a:solidFill>
                  <a:schemeClr val="accent1"/>
                </a:solidFill>
              </a:defRPr>
            </a:lvl7pPr>
            <a:lvl8pPr marL="126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accent1"/>
                </a:solidFill>
              </a:defRPr>
            </a:lvl8pPr>
            <a:lvl9pPr marL="144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>
                <a:solidFill>
                  <a:schemeClr val="accent1"/>
                </a:solidFill>
              </a:defRPr>
            </a:lvl9pPr>
          </a:lstStyle>
          <a:p>
            <a:r>
              <a:rPr lang="es-ES" sz="24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onograma</a:t>
            </a:r>
          </a:p>
        </p:txBody>
      </p:sp>
    </p:spTree>
    <p:extLst>
      <p:ext uri="{BB962C8B-B14F-4D97-AF65-F5344CB8AC3E}">
        <p14:creationId xmlns:p14="http://schemas.microsoft.com/office/powerpoint/2010/main" val="20667070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Cronograma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"/>
              <a:t>0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91888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uloSlide"/>
          <p:cNvSpPr txBox="1">
            <a:spLocks/>
          </p:cNvSpPr>
          <p:nvPr/>
        </p:nvSpPr>
        <p:spPr>
          <a:xfrm>
            <a:off x="669432" y="111305"/>
            <a:ext cx="10695254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sz="2800">
                <a:solidFill>
                  <a:srgbClr val="EB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 Risk Advanced Platform </a:t>
            </a:r>
            <a:r>
              <a:rPr lang="en-US" sz="200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sz="2800">
                <a:solidFill>
                  <a:srgbClr val="EB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sz="200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admap</a:t>
            </a:r>
          </a:p>
        </p:txBody>
      </p:sp>
      <p:pic>
        <p:nvPicPr>
          <p:cNvPr id="125" name="Imagen 127">
            <a:extLst>
              <a:ext uri="{FF2B5EF4-FFF2-40B4-BE49-F238E27FC236}">
                <a16:creationId xmlns:a16="http://schemas.microsoft.com/office/drawing/2014/main" id="{A8CB4868-C4E9-4AE9-B253-F29B517037C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10" r="25645"/>
          <a:stretch/>
        </p:blipFill>
        <p:spPr>
          <a:xfrm>
            <a:off x="8394147" y="6242491"/>
            <a:ext cx="165901" cy="166419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26" name="Imagen 130">
            <a:extLst>
              <a:ext uri="{FF2B5EF4-FFF2-40B4-BE49-F238E27FC236}">
                <a16:creationId xmlns:a16="http://schemas.microsoft.com/office/drawing/2014/main" id="{64398D51-EA56-448C-ADD4-1BC8159214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48" r="21248"/>
          <a:stretch/>
        </p:blipFill>
        <p:spPr>
          <a:xfrm>
            <a:off x="10398532" y="6248205"/>
            <a:ext cx="175105" cy="174999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27" name="Imagen 126">
            <a:extLst>
              <a:ext uri="{FF2B5EF4-FFF2-40B4-BE49-F238E27FC236}">
                <a16:creationId xmlns:a16="http://schemas.microsoft.com/office/drawing/2014/main" id="{C9827C5E-EFE8-45EE-BF94-6031A9924C5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5" r="25629"/>
          <a:stretch/>
        </p:blipFill>
        <p:spPr>
          <a:xfrm>
            <a:off x="8394148" y="6053302"/>
            <a:ext cx="165900" cy="165997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28" name="Imagen 126">
            <a:extLst>
              <a:ext uri="{FF2B5EF4-FFF2-40B4-BE49-F238E27FC236}">
                <a16:creationId xmlns:a16="http://schemas.microsoft.com/office/drawing/2014/main" id="{D8D12F57-7FA6-4BF1-BFA3-0B574347102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5" r="25629"/>
          <a:stretch/>
        </p:blipFill>
        <p:spPr>
          <a:xfrm>
            <a:off x="9312011" y="6045197"/>
            <a:ext cx="165900" cy="165997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68" name="Imagen 128">
            <a:extLst>
              <a:ext uri="{FF2B5EF4-FFF2-40B4-BE49-F238E27FC236}">
                <a16:creationId xmlns:a16="http://schemas.microsoft.com/office/drawing/2014/main" id="{3A4D1542-8724-4481-B3C7-D32F47F0ED7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921" b="89109" l="12381" r="95238">
                        <a14:foregroundMark x1="70476" y1="62376" x2="70476" y2="62376"/>
                      </a14:backgroundRemoval>
                    </a14:imgEffect>
                  </a14:imgLayer>
                </a14:imgProps>
              </a:ext>
            </a:extLst>
          </a:blip>
          <a:srcRect l="12754" t="7723" r="4858" b="10136"/>
          <a:stretch/>
        </p:blipFill>
        <p:spPr>
          <a:xfrm>
            <a:off x="9438995" y="5971563"/>
            <a:ext cx="99248" cy="95180"/>
          </a:xfrm>
          <a:prstGeom prst="rect">
            <a:avLst/>
          </a:prstGeom>
        </p:spPr>
      </p:pic>
      <p:pic>
        <p:nvPicPr>
          <p:cNvPr id="169" name="Imagen 127">
            <a:extLst>
              <a:ext uri="{FF2B5EF4-FFF2-40B4-BE49-F238E27FC236}">
                <a16:creationId xmlns:a16="http://schemas.microsoft.com/office/drawing/2014/main" id="{0DCB51C2-89EB-4882-8C95-A6E1F521385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10" r="25645"/>
          <a:stretch/>
        </p:blipFill>
        <p:spPr>
          <a:xfrm>
            <a:off x="9305476" y="6242491"/>
            <a:ext cx="165901" cy="166419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70" name="Imagen 128">
            <a:extLst>
              <a:ext uri="{FF2B5EF4-FFF2-40B4-BE49-F238E27FC236}">
                <a16:creationId xmlns:a16="http://schemas.microsoft.com/office/drawing/2014/main" id="{5CA678BA-0D53-402C-9C76-ED7BF887E92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921" b="89109" l="12381" r="95238">
                        <a14:foregroundMark x1="70476" y1="62376" x2="70476" y2="62376"/>
                      </a14:backgroundRemoval>
                    </a14:imgEffect>
                  </a14:imgLayer>
                </a14:imgProps>
              </a:ext>
            </a:extLst>
          </a:blip>
          <a:srcRect l="12754" t="7723" r="4858" b="10136"/>
          <a:stretch/>
        </p:blipFill>
        <p:spPr>
          <a:xfrm>
            <a:off x="9438995" y="6164484"/>
            <a:ext cx="99248" cy="95180"/>
          </a:xfrm>
          <a:prstGeom prst="rect">
            <a:avLst/>
          </a:prstGeom>
        </p:spPr>
      </p:pic>
      <p:sp>
        <p:nvSpPr>
          <p:cNvPr id="171" name="TextBox 312">
            <a:extLst>
              <a:ext uri="{FF2B5EF4-FFF2-40B4-BE49-F238E27FC236}">
                <a16:creationId xmlns:a16="http://schemas.microsoft.com/office/drawing/2014/main" id="{B3181AD7-A49C-4A29-BAEF-2E56ACEFCB2D}"/>
              </a:ext>
            </a:extLst>
          </p:cNvPr>
          <p:cNvSpPr txBox="1"/>
          <p:nvPr/>
        </p:nvSpPr>
        <p:spPr>
          <a:xfrm>
            <a:off x="10568061" y="6219892"/>
            <a:ext cx="88135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sz="1050" i="1">
                <a:latin typeface="Santander Text" panose="020B0504020201020104" pitchFamily="34" charset="0"/>
              </a:rPr>
              <a:t>Mexico</a:t>
            </a:r>
          </a:p>
        </p:txBody>
      </p:sp>
      <p:sp>
        <p:nvSpPr>
          <p:cNvPr id="172" name="TextBox 318">
            <a:extLst>
              <a:ext uri="{FF2B5EF4-FFF2-40B4-BE49-F238E27FC236}">
                <a16:creationId xmlns:a16="http://schemas.microsoft.com/office/drawing/2014/main" id="{2BB92B96-C5DD-4563-914E-9E2C71AF5B99}"/>
              </a:ext>
            </a:extLst>
          </p:cNvPr>
          <p:cNvSpPr txBox="1"/>
          <p:nvPr/>
        </p:nvSpPr>
        <p:spPr>
          <a:xfrm>
            <a:off x="3325910" y="6008296"/>
            <a:ext cx="35479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100" b="1" i="1">
                <a:latin typeface="Santander Text" panose="020B0504020201020104" pitchFamily="34" charset="0"/>
              </a:rPr>
              <a:t>XX.XX Plan closed including internal validation.</a:t>
            </a:r>
            <a:r>
              <a:rPr lang="en-US" sz="1100" b="1" i="1">
                <a:solidFill>
                  <a:srgbClr val="FFC000"/>
                </a:solidFill>
                <a:latin typeface="Santander Text" panose="020B0504020201020104" pitchFamily="34" charset="0"/>
              </a:rPr>
              <a:t>.</a:t>
            </a:r>
          </a:p>
        </p:txBody>
      </p:sp>
      <p:grpSp>
        <p:nvGrpSpPr>
          <p:cNvPr id="203" name="Group 15">
            <a:extLst>
              <a:ext uri="{FF2B5EF4-FFF2-40B4-BE49-F238E27FC236}">
                <a16:creationId xmlns:a16="http://schemas.microsoft.com/office/drawing/2014/main" id="{21639A23-E3BA-4FB3-A3BA-668DF0B9611B}"/>
              </a:ext>
            </a:extLst>
          </p:cNvPr>
          <p:cNvGrpSpPr/>
          <p:nvPr/>
        </p:nvGrpSpPr>
        <p:grpSpPr>
          <a:xfrm>
            <a:off x="6548801" y="1419593"/>
            <a:ext cx="573873" cy="4570118"/>
            <a:chOff x="5247415" y="1679721"/>
            <a:chExt cx="573873" cy="5101658"/>
          </a:xfrm>
        </p:grpSpPr>
        <p:sp>
          <p:nvSpPr>
            <p:cNvPr id="204" name="Rounded Rectangle 30">
              <a:extLst>
                <a:ext uri="{FF2B5EF4-FFF2-40B4-BE49-F238E27FC236}">
                  <a16:creationId xmlns:a16="http://schemas.microsoft.com/office/drawing/2014/main" id="{3DBC88CE-33FE-45E4-B44D-D5D1A6F21885}"/>
                </a:ext>
              </a:extLst>
            </p:cNvPr>
            <p:cNvSpPr/>
            <p:nvPr/>
          </p:nvSpPr>
          <p:spPr>
            <a:xfrm>
              <a:off x="5282050" y="6382129"/>
              <a:ext cx="539238" cy="399250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GB" sz="900" b="1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oday</a:t>
              </a:r>
            </a:p>
          </p:txBody>
        </p:sp>
        <p:cxnSp>
          <p:nvCxnSpPr>
            <p:cNvPr id="205" name="Straight Connector 227">
              <a:extLst>
                <a:ext uri="{FF2B5EF4-FFF2-40B4-BE49-F238E27FC236}">
                  <a16:creationId xmlns:a16="http://schemas.microsoft.com/office/drawing/2014/main" id="{8CE17D1A-EA21-487B-91A3-B1F962FCBB32}"/>
                </a:ext>
              </a:extLst>
            </p:cNvPr>
            <p:cNvCxnSpPr/>
            <p:nvPr/>
          </p:nvCxnSpPr>
          <p:spPr>
            <a:xfrm>
              <a:off x="5426395" y="1679721"/>
              <a:ext cx="9625" cy="4536000"/>
            </a:xfrm>
            <a:prstGeom prst="line">
              <a:avLst/>
            </a:prstGeom>
            <a:ln w="28575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6" name="Isosceles Triangle 228">
              <a:extLst>
                <a:ext uri="{FF2B5EF4-FFF2-40B4-BE49-F238E27FC236}">
                  <a16:creationId xmlns:a16="http://schemas.microsoft.com/office/drawing/2014/main" id="{EDD2BBBA-D3AE-4A96-A83B-4B1B8F0E4A88}"/>
                </a:ext>
              </a:extLst>
            </p:cNvPr>
            <p:cNvSpPr/>
            <p:nvPr/>
          </p:nvSpPr>
          <p:spPr>
            <a:xfrm>
              <a:off x="5247415" y="6282733"/>
              <a:ext cx="377210" cy="180438"/>
            </a:xfrm>
            <a:prstGeom prst="triangl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282" name="TextBox 300">
            <a:extLst>
              <a:ext uri="{FF2B5EF4-FFF2-40B4-BE49-F238E27FC236}">
                <a16:creationId xmlns:a16="http://schemas.microsoft.com/office/drawing/2014/main" id="{87EA72A0-9257-4B46-878F-0767B3242ECC}"/>
              </a:ext>
            </a:extLst>
          </p:cNvPr>
          <p:cNvSpPr txBox="1"/>
          <p:nvPr/>
        </p:nvSpPr>
        <p:spPr>
          <a:xfrm>
            <a:off x="8560048" y="5999805"/>
            <a:ext cx="671043" cy="654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sz="1050" i="1">
                <a:latin typeface="Santander Text" panose="020B0504020201020104" pitchFamily="34" charset="0"/>
              </a:rPr>
              <a:t>Spain</a:t>
            </a:r>
          </a:p>
          <a:p>
            <a:pPr>
              <a:spcBef>
                <a:spcPts val="300"/>
              </a:spcBef>
            </a:pPr>
            <a:r>
              <a:rPr lang="es-ES" sz="1050" i="1">
                <a:latin typeface="Santander Text" panose="020B0504020201020104" pitchFamily="34" charset="0"/>
              </a:rPr>
              <a:t>UK</a:t>
            </a:r>
          </a:p>
          <a:p>
            <a:pPr>
              <a:spcBef>
                <a:spcPts val="300"/>
              </a:spcBef>
            </a:pPr>
            <a:r>
              <a:rPr lang="es-ES" sz="1050" i="1">
                <a:latin typeface="Santander Text" panose="020B0504020201020104" pitchFamily="34" charset="0"/>
              </a:rPr>
              <a:t>Brazil</a:t>
            </a:r>
          </a:p>
        </p:txBody>
      </p:sp>
      <p:sp>
        <p:nvSpPr>
          <p:cNvPr id="283" name="TextBox 302">
            <a:extLst>
              <a:ext uri="{FF2B5EF4-FFF2-40B4-BE49-F238E27FC236}">
                <a16:creationId xmlns:a16="http://schemas.microsoft.com/office/drawing/2014/main" id="{1B44A30C-ED79-4B65-8D6B-0FC1272784DC}"/>
              </a:ext>
            </a:extLst>
          </p:cNvPr>
          <p:cNvSpPr txBox="1"/>
          <p:nvPr/>
        </p:nvSpPr>
        <p:spPr>
          <a:xfrm>
            <a:off x="9543654" y="5999805"/>
            <a:ext cx="881355" cy="654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sz="1050" i="1">
                <a:latin typeface="Santander Text" panose="020B0504020201020104" pitchFamily="34" charset="0"/>
              </a:rPr>
              <a:t>ALCO Spain</a:t>
            </a:r>
          </a:p>
          <a:p>
            <a:pPr>
              <a:spcBef>
                <a:spcPts val="300"/>
              </a:spcBef>
            </a:pPr>
            <a:r>
              <a:rPr lang="es-ES" sz="1050" i="1">
                <a:latin typeface="Santander Text" panose="020B0504020201020104" pitchFamily="34" charset="0"/>
              </a:rPr>
              <a:t>SLB</a:t>
            </a:r>
          </a:p>
          <a:p>
            <a:pPr>
              <a:spcBef>
                <a:spcPts val="300"/>
              </a:spcBef>
            </a:pPr>
            <a:r>
              <a:rPr lang="es-ES" sz="1050" i="1">
                <a:latin typeface="Santander Text" panose="020B0504020201020104" pitchFamily="34" charset="0"/>
              </a:rPr>
              <a:t>Chile</a:t>
            </a:r>
          </a:p>
        </p:txBody>
      </p:sp>
      <p:pic>
        <p:nvPicPr>
          <p:cNvPr id="284" name="Imagen 135">
            <a:extLst>
              <a:ext uri="{FF2B5EF4-FFF2-40B4-BE49-F238E27FC236}">
                <a16:creationId xmlns:a16="http://schemas.microsoft.com/office/drawing/2014/main" id="{21DD5DC7-8D9A-4F9D-9791-FA71CDD0491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03" r="12889"/>
          <a:stretch/>
        </p:blipFill>
        <p:spPr>
          <a:xfrm>
            <a:off x="8392886" y="6440598"/>
            <a:ext cx="167162" cy="164102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285" name="Picture 164">
            <a:extLst>
              <a:ext uri="{FF2B5EF4-FFF2-40B4-BE49-F238E27FC236}">
                <a16:creationId xmlns:a16="http://schemas.microsoft.com/office/drawing/2014/main" id="{9273EF02-5DBA-4EBB-B1D7-55B7DE03F04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167" b="85500" l="6667" r="93874">
                        <a14:foregroundMark x1="30991" y1="22500" x2="30991" y2="22500"/>
                        <a14:foregroundMark x1="28108" y1="31000" x2="28108" y2="31000"/>
                        <a14:foregroundMark x1="29009" y1="26167" x2="29009" y2="26167"/>
                        <a14:foregroundMark x1="27207" y1="24167" x2="27207" y2="24167"/>
                        <a14:foregroundMark x1="27027" y1="24667" x2="26486" y2="25500"/>
                        <a14:foregroundMark x1="26306" y1="28667" x2="26306" y2="28667"/>
                        <a14:foregroundMark x1="25946" y1="32333" x2="25946" y2="32333"/>
                        <a14:foregroundMark x1="25946" y1="30833" x2="25946" y2="30833"/>
                        <a14:foregroundMark x1="26486" y1="27667" x2="26486" y2="27667"/>
                        <a14:foregroundMark x1="29730" y1="27167" x2="26486" y2="26500"/>
                        <a14:foregroundMark x1="30450" y1="30167" x2="30450" y2="30167"/>
                        <a14:foregroundMark x1="28829" y1="29000" x2="28829" y2="29000"/>
                        <a14:foregroundMark x1="28649" y1="29000" x2="28649" y2="29000"/>
                        <a14:foregroundMark x1="27748" y1="25167" x2="27748" y2="25167"/>
                        <a14:foregroundMark x1="27748" y1="21667" x2="27748" y2="21667"/>
                        <a14:foregroundMark x1="27928" y1="20833" x2="28108" y2="19833"/>
                        <a14:foregroundMark x1="28108" y1="18500" x2="28288" y2="17833"/>
                        <a14:foregroundMark x1="17477" y1="24667" x2="17477" y2="24667"/>
                        <a14:foregroundMark x1="17477" y1="24667" x2="17477" y2="24667"/>
                        <a14:foregroundMark x1="17477" y1="24667" x2="17477" y2="24667"/>
                        <a14:foregroundMark x1="17117" y1="24000" x2="17117" y2="24000"/>
                        <a14:foregroundMark x1="17117" y1="24000" x2="17117" y2="24000"/>
                        <a14:foregroundMark x1="33874" y1="26833" x2="33874" y2="26833"/>
                        <a14:foregroundMark x1="33874" y1="26833" x2="33874" y2="26833"/>
                        <a14:foregroundMark x1="42883" y1="17667" x2="42883" y2="17667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39099" y1="16167" x2="39099" y2="16167"/>
                        <a14:foregroundMark x1="36937" y1="17667" x2="36937" y2="17667"/>
                        <a14:foregroundMark x1="34775" y1="16667" x2="34775" y2="16000"/>
                        <a14:foregroundMark x1="34775" y1="14167" x2="34775" y2="14167"/>
                        <a14:foregroundMark x1="44144" y1="14000" x2="44144" y2="14000"/>
                        <a14:foregroundMark x1="47748" y1="34167" x2="47748" y2="34167"/>
                        <a14:foregroundMark x1="47568" y1="36000" x2="47207" y2="37167"/>
                        <a14:foregroundMark x1="46126" y1="38833" x2="45946" y2="39500"/>
                        <a14:foregroundMark x1="43784" y1="41500" x2="39279" y2="42000"/>
                        <a14:foregroundMark x1="37117" y1="42667" x2="35495" y2="43000"/>
                        <a14:foregroundMark x1="32793" y1="43000" x2="29009" y2="42167"/>
                        <a14:foregroundMark x1="25946" y1="41500" x2="23423" y2="41167"/>
                        <a14:foregroundMark x1="19099" y1="40167" x2="16757" y2="40500"/>
                        <a14:foregroundMark x1="16577" y1="40500" x2="16396" y2="39333"/>
                        <a14:foregroundMark x1="17117" y1="32833" x2="17658" y2="31500"/>
                        <a14:foregroundMark x1="17658" y1="30333" x2="17658" y2="30333"/>
                        <a14:foregroundMark x1="18018" y1="29500" x2="18018" y2="29500"/>
                        <a14:foregroundMark x1="12613" y1="35667" x2="12613" y2="35667"/>
                        <a14:foregroundMark x1="11892" y1="37000" x2="11892" y2="37000"/>
                        <a14:foregroundMark x1="11351" y1="40000" x2="11171" y2="40833"/>
                        <a14:foregroundMark x1="10631" y1="42333" x2="10631" y2="42333"/>
                        <a14:foregroundMark x1="10450" y1="42833" x2="9009" y2="41667"/>
                        <a14:foregroundMark x1="8829" y1="39833" x2="8829" y2="38167"/>
                        <a14:foregroundMark x1="8829" y1="36500" x2="9009" y2="35333"/>
                        <a14:foregroundMark x1="9550" y1="33000" x2="10631" y2="30167"/>
                        <a14:foregroundMark x1="10811" y1="29000" x2="10811" y2="29000"/>
                        <a14:foregroundMark x1="11171" y1="29000" x2="11171" y2="29000"/>
                        <a14:foregroundMark x1="21441" y1="17500" x2="21441" y2="17500"/>
                        <a14:foregroundMark x1="21802" y1="17333" x2="22703" y2="16667"/>
                        <a14:foregroundMark x1="24505" y1="16000" x2="26306" y2="14667"/>
                        <a14:foregroundMark x1="28288" y1="13333" x2="29730" y2="12500"/>
                        <a14:foregroundMark x1="31171" y1="12167" x2="32613" y2="11500"/>
                        <a14:foregroundMark x1="34775" y1="11333" x2="35856" y2="10667"/>
                        <a14:foregroundMark x1="39279" y1="10000" x2="40180" y2="9667"/>
                        <a14:foregroundMark x1="46847" y1="9333" x2="48288" y2="9167"/>
                        <a14:foregroundMark x1="49730" y1="9167" x2="49730" y2="9167"/>
                        <a14:foregroundMark x1="47207" y1="6167" x2="47207" y2="6167"/>
                        <a14:foregroundMark x1="65405" y1="9667" x2="65405" y2="9667"/>
                        <a14:foregroundMark x1="65766" y1="12667" x2="65045" y2="14000"/>
                        <a14:foregroundMark x1="64144" y1="15667" x2="64144" y2="15667"/>
                        <a14:foregroundMark x1="64144" y1="17500" x2="64144" y2="17500"/>
                        <a14:foregroundMark x1="64324" y1="21333" x2="64324" y2="21333"/>
                        <a14:foregroundMark x1="65225" y1="25167" x2="66126" y2="27500"/>
                        <a14:foregroundMark x1="68108" y1="31500" x2="68288" y2="32333"/>
                        <a14:foregroundMark x1="69189" y1="33833" x2="69189" y2="33833"/>
                        <a14:foregroundMark x1="70270" y1="34500" x2="70450" y2="35167"/>
                        <a14:foregroundMark x1="70270" y1="39833" x2="67568" y2="38500"/>
                        <a14:foregroundMark x1="61441" y1="35833" x2="59640" y2="32333"/>
                        <a14:foregroundMark x1="57658" y1="29000" x2="57658" y2="27333"/>
                        <a14:foregroundMark x1="57838" y1="24500" x2="58378" y2="21333"/>
                        <a14:foregroundMark x1="58378" y1="19000" x2="59099" y2="16333"/>
                        <a14:foregroundMark x1="61622" y1="16000" x2="67928" y2="19833"/>
                        <a14:foregroundMark x1="73694" y1="23833" x2="74775" y2="24500"/>
                        <a14:foregroundMark x1="77477" y1="26167" x2="78198" y2="28667"/>
                        <a14:foregroundMark x1="79640" y1="36000" x2="80000" y2="37833"/>
                        <a14:foregroundMark x1="80000" y1="40500" x2="78198" y2="40667"/>
                        <a14:foregroundMark x1="75856" y1="40000" x2="74054" y2="40000"/>
                        <a14:foregroundMark x1="70991" y1="39833" x2="69730" y2="39833"/>
                        <a14:foregroundMark x1="71892" y1="63833" x2="71892" y2="63833"/>
                        <a14:foregroundMark x1="71892" y1="64333" x2="72432" y2="65500"/>
                        <a14:foregroundMark x1="88649" y1="51333" x2="88649" y2="51333"/>
                        <a14:foregroundMark x1="88829" y1="51333" x2="88829" y2="51333"/>
                        <a14:foregroundMark x1="89369" y1="54833" x2="89550" y2="56333"/>
                        <a14:foregroundMark x1="89550" y1="57667" x2="88829" y2="59000"/>
                        <a14:foregroundMark x1="38559" y1="17667" x2="38559" y2="17667"/>
                        <a14:foregroundMark x1="45225" y1="21167" x2="45225" y2="21167"/>
                        <a14:foregroundMark x1="45225" y1="21167" x2="45225" y2="21167"/>
                        <a14:foregroundMark x1="44144" y1="12500" x2="44144" y2="12500"/>
                        <a14:foregroundMark x1="60360" y1="81500" x2="60360" y2="81500"/>
                        <a14:foregroundMark x1="54054" y1="82833" x2="54054" y2="82833"/>
                        <a14:foregroundMark x1="49369" y1="85500" x2="49369" y2="85500"/>
                        <a14:foregroundMark x1="37117" y1="15667" x2="37117" y2="15667"/>
                        <a14:foregroundMark x1="27748" y1="20833" x2="27748" y2="20833"/>
                        <a14:foregroundMark x1="28649" y1="23333" x2="28649" y2="23333"/>
                        <a14:foregroundMark x1="24505" y1="25167" x2="24505" y2="25167"/>
                        <a14:foregroundMark x1="24144" y1="28667" x2="24144" y2="28667"/>
                        <a14:foregroundMark x1="20360" y1="25833" x2="20360" y2="25833"/>
                        <a14:foregroundMark x1="36396" y1="26000" x2="36396" y2="26000"/>
                        <a14:foregroundMark x1="32793" y1="33167" x2="32793" y2="33167"/>
                        <a14:foregroundMark x1="31712" y1="27167" x2="31712" y2="27167"/>
                        <a14:foregroundMark x1="94054" y1="48167" x2="94054" y2="48167"/>
                        <a14:foregroundMark x1="6667" y1="48167" x2="6667" y2="48167"/>
                        <a14:foregroundMark x1="61982" y1="26000" x2="61982" y2="26000"/>
                        <a14:foregroundMark x1="62162" y1="33667" x2="62162" y2="33667"/>
                        <a14:foregroundMark x1="60000" y1="39833" x2="60000" y2="39833"/>
                        <a14:foregroundMark x1="60000" y1="40167" x2="62162" y2="23000"/>
                        <a14:foregroundMark x1="62162" y1="23000" x2="76577" y2="27833"/>
                        <a14:foregroundMark x1="76577" y1="27833" x2="67027" y2="40167"/>
                        <a14:foregroundMark x1="67027" y1="40167" x2="65405" y2="38667"/>
                        <a14:foregroundMark x1="76216" y1="31833" x2="76216" y2="31833"/>
                        <a14:foregroundMark x1="83243" y1="35833" x2="83243" y2="35833"/>
                        <a14:foregroundMark x1="84144" y1="43333" x2="84144" y2="43333"/>
                        <a14:foregroundMark x1="92252" y1="42667" x2="75495" y2="17667"/>
                        <a14:foregroundMark x1="75495" y1="17667" x2="62342" y2="9500"/>
                        <a14:foregroundMark x1="62342" y1="9500" x2="54054" y2="7833"/>
                        <a14:foregroundMark x1="53874" y1="9333" x2="55495" y2="38667"/>
                        <a14:foregroundMark x1="55495" y1="38667" x2="70090" y2="43000"/>
                        <a14:foregroundMark x1="70090" y1="43000" x2="86847" y2="42833"/>
                        <a14:foregroundMark x1="86847" y1="42833" x2="87748" y2="38000"/>
                        <a14:foregroundMark x1="55495" y1="7000" x2="55495" y2="7000"/>
                        <a14:backgroundMark x1="90811" y1="12167" x2="90811" y2="12167"/>
                        <a14:backgroundMark x1="17117" y1="6500" x2="17117" y2="6500"/>
                        <a14:backgroundMark x1="17117" y1="6500" x2="17117" y2="6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505" t="4352" r="3668" b="11878"/>
          <a:stretch/>
        </p:blipFill>
        <p:spPr>
          <a:xfrm>
            <a:off x="9298338" y="6437861"/>
            <a:ext cx="184240" cy="183704"/>
          </a:xfrm>
          <a:prstGeom prst="rect">
            <a:avLst/>
          </a:prstGeom>
        </p:spPr>
      </p:pic>
      <p:sp>
        <p:nvSpPr>
          <p:cNvPr id="96" name="Rectangle: Rounded Corners 5">
            <a:extLst>
              <a:ext uri="{FF2B5EF4-FFF2-40B4-BE49-F238E27FC236}">
                <a16:creationId xmlns:a16="http://schemas.microsoft.com/office/drawing/2014/main" id="{0E0B7C8F-B736-4E76-8E54-D4ADD824F23E}"/>
              </a:ext>
            </a:extLst>
          </p:cNvPr>
          <p:cNvSpPr/>
          <p:nvPr/>
        </p:nvSpPr>
        <p:spPr>
          <a:xfrm>
            <a:off x="569962" y="1480170"/>
            <a:ext cx="1876698" cy="319028"/>
          </a:xfrm>
          <a:prstGeom prst="roundRect">
            <a:avLst>
              <a:gd name="adj" fmla="val 946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sz="1200" b="1">
                <a:solidFill>
                  <a:schemeClr val="tx1"/>
                </a:solidFill>
                <a:latin typeface="Santander Text"/>
              </a:rPr>
              <a:t>IR Delta &amp; XCCY </a:t>
            </a:r>
            <a:endParaRPr lang="es-ES" sz="1200" b="1">
              <a:solidFill>
                <a:schemeClr val="tx1"/>
              </a:solidFill>
              <a:latin typeface="Santander Text" panose="020B0504020201020104" pitchFamily="34" charset="0"/>
            </a:endParaRPr>
          </a:p>
        </p:txBody>
      </p:sp>
      <p:sp>
        <p:nvSpPr>
          <p:cNvPr id="98" name="Rectangle: Rounded Corners 115">
            <a:extLst>
              <a:ext uri="{FF2B5EF4-FFF2-40B4-BE49-F238E27FC236}">
                <a16:creationId xmlns:a16="http://schemas.microsoft.com/office/drawing/2014/main" id="{A2A660BF-2BD4-461D-8185-171C9F60E690}"/>
              </a:ext>
            </a:extLst>
          </p:cNvPr>
          <p:cNvSpPr/>
          <p:nvPr/>
        </p:nvSpPr>
        <p:spPr>
          <a:xfrm>
            <a:off x="569962" y="2501842"/>
            <a:ext cx="1876698" cy="319028"/>
          </a:xfrm>
          <a:prstGeom prst="roundRect">
            <a:avLst>
              <a:gd name="adj" fmla="val 946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tx1"/>
                </a:solidFill>
                <a:latin typeface="Santander Text" panose="020B0504020201020104" pitchFamily="34" charset="0"/>
              </a:rPr>
              <a:t>Concentration</a:t>
            </a:r>
          </a:p>
        </p:txBody>
      </p:sp>
      <p:sp>
        <p:nvSpPr>
          <p:cNvPr id="99" name="Rectangle: Rounded Corners 116">
            <a:extLst>
              <a:ext uri="{FF2B5EF4-FFF2-40B4-BE49-F238E27FC236}">
                <a16:creationId xmlns:a16="http://schemas.microsoft.com/office/drawing/2014/main" id="{31C21204-2F53-4E9F-A42E-31F57F3EF133}"/>
              </a:ext>
            </a:extLst>
          </p:cNvPr>
          <p:cNvSpPr/>
          <p:nvPr/>
        </p:nvSpPr>
        <p:spPr>
          <a:xfrm>
            <a:off x="569962" y="1991006"/>
            <a:ext cx="1876698" cy="319028"/>
          </a:xfrm>
          <a:prstGeom prst="roundRect">
            <a:avLst>
              <a:gd name="adj" fmla="val 946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tx1"/>
                </a:solidFill>
                <a:latin typeface="Santander Text" panose="020B0504020201020104" pitchFamily="34" charset="0"/>
              </a:rPr>
              <a:t>Fixed Income</a:t>
            </a:r>
          </a:p>
        </p:txBody>
      </p:sp>
      <p:sp>
        <p:nvSpPr>
          <p:cNvPr id="100" name="Rectangle: Rounded Corners 117">
            <a:extLst>
              <a:ext uri="{FF2B5EF4-FFF2-40B4-BE49-F238E27FC236}">
                <a16:creationId xmlns:a16="http://schemas.microsoft.com/office/drawing/2014/main" id="{CE451B2C-1A83-4A99-9395-D521C01BFE26}"/>
              </a:ext>
            </a:extLst>
          </p:cNvPr>
          <p:cNvSpPr/>
          <p:nvPr/>
        </p:nvSpPr>
        <p:spPr>
          <a:xfrm>
            <a:off x="569962" y="3523514"/>
            <a:ext cx="1876698" cy="319028"/>
          </a:xfrm>
          <a:prstGeom prst="roundRect">
            <a:avLst>
              <a:gd name="adj" fmla="val 946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sz="1200" b="1">
                <a:solidFill>
                  <a:schemeClr val="tx1"/>
                </a:solidFill>
                <a:latin typeface="Santander Text"/>
              </a:rPr>
              <a:t>EQ Vega</a:t>
            </a:r>
          </a:p>
        </p:txBody>
      </p:sp>
      <p:sp>
        <p:nvSpPr>
          <p:cNvPr id="101" name="Rectangle: Rounded Corners 118">
            <a:extLst>
              <a:ext uri="{FF2B5EF4-FFF2-40B4-BE49-F238E27FC236}">
                <a16:creationId xmlns:a16="http://schemas.microsoft.com/office/drawing/2014/main" id="{FE1551A8-E3A3-4A3F-B766-CF540056AB08}"/>
              </a:ext>
            </a:extLst>
          </p:cNvPr>
          <p:cNvSpPr/>
          <p:nvPr/>
        </p:nvSpPr>
        <p:spPr>
          <a:xfrm>
            <a:off x="569962" y="3012678"/>
            <a:ext cx="1876698" cy="319028"/>
          </a:xfrm>
          <a:prstGeom prst="roundRect">
            <a:avLst>
              <a:gd name="adj" fmla="val 946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sz="1200" b="1">
                <a:solidFill>
                  <a:schemeClr val="tx1"/>
                </a:solidFill>
                <a:latin typeface="Santander Text"/>
              </a:rPr>
              <a:t>IR Vega</a:t>
            </a:r>
          </a:p>
        </p:txBody>
      </p:sp>
      <p:sp>
        <p:nvSpPr>
          <p:cNvPr id="102" name="Rectangle: Rounded Corners 119">
            <a:extLst>
              <a:ext uri="{FF2B5EF4-FFF2-40B4-BE49-F238E27FC236}">
                <a16:creationId xmlns:a16="http://schemas.microsoft.com/office/drawing/2014/main" id="{47B6D3D3-2DE1-4F01-8C9E-0F0733E011C7}"/>
              </a:ext>
            </a:extLst>
          </p:cNvPr>
          <p:cNvSpPr/>
          <p:nvPr/>
        </p:nvSpPr>
        <p:spPr>
          <a:xfrm>
            <a:off x="569962" y="4034350"/>
            <a:ext cx="1876698" cy="319028"/>
          </a:xfrm>
          <a:prstGeom prst="roundRect">
            <a:avLst>
              <a:gd name="adj" fmla="val 946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sz="1200" b="1">
                <a:solidFill>
                  <a:schemeClr val="tx1"/>
                </a:solidFill>
                <a:latin typeface="Santander Text"/>
              </a:rPr>
              <a:t>FX Vega</a:t>
            </a:r>
          </a:p>
        </p:txBody>
      </p:sp>
      <p:sp>
        <p:nvSpPr>
          <p:cNvPr id="103" name="Rectangle: Rounded Corners 121">
            <a:extLst>
              <a:ext uri="{FF2B5EF4-FFF2-40B4-BE49-F238E27FC236}">
                <a16:creationId xmlns:a16="http://schemas.microsoft.com/office/drawing/2014/main" id="{492E3CF9-0CD5-4521-9864-273B4A6E4AB6}"/>
              </a:ext>
            </a:extLst>
          </p:cNvPr>
          <p:cNvSpPr/>
          <p:nvPr/>
        </p:nvSpPr>
        <p:spPr>
          <a:xfrm>
            <a:off x="569962" y="5056025"/>
            <a:ext cx="1876698" cy="319028"/>
          </a:xfrm>
          <a:prstGeom prst="roundRect">
            <a:avLst>
              <a:gd name="adj" fmla="val 946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sz="1200" b="1" err="1">
                <a:solidFill>
                  <a:schemeClr val="tx1"/>
                </a:solidFill>
                <a:latin typeface="Santander Text"/>
              </a:rPr>
              <a:t>Inflation</a:t>
            </a:r>
            <a:r>
              <a:rPr lang="es-ES" sz="1200" b="1">
                <a:solidFill>
                  <a:schemeClr val="tx1"/>
                </a:solidFill>
                <a:latin typeface="Santander Text"/>
              </a:rPr>
              <a:t> Delta</a:t>
            </a:r>
          </a:p>
        </p:txBody>
      </p:sp>
      <p:sp>
        <p:nvSpPr>
          <p:cNvPr id="104" name="Rectangle: Rounded Corners 122">
            <a:extLst>
              <a:ext uri="{FF2B5EF4-FFF2-40B4-BE49-F238E27FC236}">
                <a16:creationId xmlns:a16="http://schemas.microsoft.com/office/drawing/2014/main" id="{5A3D4090-AF05-4C41-941C-EEBC66955D72}"/>
              </a:ext>
            </a:extLst>
          </p:cNvPr>
          <p:cNvSpPr/>
          <p:nvPr/>
        </p:nvSpPr>
        <p:spPr>
          <a:xfrm>
            <a:off x="569962" y="4545186"/>
            <a:ext cx="1876698" cy="319028"/>
          </a:xfrm>
          <a:prstGeom prst="roundRect">
            <a:avLst>
              <a:gd name="adj" fmla="val 946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sz="1200" b="1">
                <a:solidFill>
                  <a:schemeClr val="tx1"/>
                </a:solidFill>
                <a:latin typeface="Santander Text"/>
              </a:rPr>
              <a:t>CR Delta &amp; </a:t>
            </a:r>
            <a:r>
              <a:rPr lang="es-ES" sz="1200" b="1" err="1">
                <a:solidFill>
                  <a:schemeClr val="tx1"/>
                </a:solidFill>
                <a:latin typeface="Santander Text"/>
              </a:rPr>
              <a:t>Concentration</a:t>
            </a:r>
            <a:endParaRPr lang="es-ES" sz="1200" b="1">
              <a:solidFill>
                <a:schemeClr val="tx1"/>
              </a:solidFill>
              <a:latin typeface="Santander Text"/>
            </a:endParaRPr>
          </a:p>
        </p:txBody>
      </p:sp>
      <p:sp>
        <p:nvSpPr>
          <p:cNvPr id="105" name="Rectangle: Rounded Corners 125">
            <a:extLst>
              <a:ext uri="{FF2B5EF4-FFF2-40B4-BE49-F238E27FC236}">
                <a16:creationId xmlns:a16="http://schemas.microsoft.com/office/drawing/2014/main" id="{59D487FE-E327-42CC-A7B0-FC2ADE0A03F2}"/>
              </a:ext>
            </a:extLst>
          </p:cNvPr>
          <p:cNvSpPr/>
          <p:nvPr/>
        </p:nvSpPr>
        <p:spPr>
          <a:xfrm>
            <a:off x="2672233" y="755751"/>
            <a:ext cx="8309076" cy="319028"/>
          </a:xfrm>
          <a:prstGeom prst="roundRect">
            <a:avLst>
              <a:gd name="adj" fmla="val 946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latin typeface="Santander Text" panose="020B0504020201020104" pitchFamily="34" charset="0"/>
              </a:rPr>
              <a:t>2022</a:t>
            </a:r>
          </a:p>
        </p:txBody>
      </p:sp>
      <p:sp>
        <p:nvSpPr>
          <p:cNvPr id="106" name="Rectangle: Rounded Corners 126">
            <a:extLst>
              <a:ext uri="{FF2B5EF4-FFF2-40B4-BE49-F238E27FC236}">
                <a16:creationId xmlns:a16="http://schemas.microsoft.com/office/drawing/2014/main" id="{E4963B65-048F-45A0-B965-4A24B403CE6B}"/>
              </a:ext>
            </a:extLst>
          </p:cNvPr>
          <p:cNvSpPr/>
          <p:nvPr/>
        </p:nvSpPr>
        <p:spPr>
          <a:xfrm>
            <a:off x="2672233" y="1130570"/>
            <a:ext cx="576064" cy="217116"/>
          </a:xfrm>
          <a:prstGeom prst="roundRect">
            <a:avLst>
              <a:gd name="adj" fmla="val 946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latin typeface="Santander Text" panose="020B0504020201020104" pitchFamily="34" charset="0"/>
              </a:rPr>
              <a:t>2Q</a:t>
            </a:r>
          </a:p>
        </p:txBody>
      </p:sp>
      <p:pic>
        <p:nvPicPr>
          <p:cNvPr id="107" name="Imagen 130">
            <a:extLst>
              <a:ext uri="{FF2B5EF4-FFF2-40B4-BE49-F238E27FC236}">
                <a16:creationId xmlns:a16="http://schemas.microsoft.com/office/drawing/2014/main" id="{3F96C030-C15E-4EE0-87AA-8E68F8D767E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48" r="21248"/>
          <a:stretch/>
        </p:blipFill>
        <p:spPr>
          <a:xfrm>
            <a:off x="4083027" y="2049475"/>
            <a:ext cx="216879" cy="216748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sp>
        <p:nvSpPr>
          <p:cNvPr id="108" name="Rectangle: Rounded Corners 151">
            <a:extLst>
              <a:ext uri="{FF2B5EF4-FFF2-40B4-BE49-F238E27FC236}">
                <a16:creationId xmlns:a16="http://schemas.microsoft.com/office/drawing/2014/main" id="{894D526D-E146-400C-A1D2-678DB63EE9D5}"/>
              </a:ext>
            </a:extLst>
          </p:cNvPr>
          <p:cNvSpPr/>
          <p:nvPr/>
        </p:nvSpPr>
        <p:spPr>
          <a:xfrm>
            <a:off x="7064563" y="1141008"/>
            <a:ext cx="3906308" cy="217116"/>
          </a:xfrm>
          <a:prstGeom prst="roundRect">
            <a:avLst>
              <a:gd name="adj" fmla="val 946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latin typeface="Santander Text" panose="020B0504020201020104" pitchFamily="34" charset="0"/>
              </a:rPr>
              <a:t>4Q</a:t>
            </a:r>
          </a:p>
        </p:txBody>
      </p:sp>
      <p:sp>
        <p:nvSpPr>
          <p:cNvPr id="109" name="Rectangle: Rounded Corners 152">
            <a:extLst>
              <a:ext uri="{FF2B5EF4-FFF2-40B4-BE49-F238E27FC236}">
                <a16:creationId xmlns:a16="http://schemas.microsoft.com/office/drawing/2014/main" id="{8F64FD33-3D7A-4D7C-A1C0-3CD7F424586E}"/>
              </a:ext>
            </a:extLst>
          </p:cNvPr>
          <p:cNvSpPr/>
          <p:nvPr/>
        </p:nvSpPr>
        <p:spPr>
          <a:xfrm>
            <a:off x="3333297" y="1141008"/>
            <a:ext cx="3666226" cy="227554"/>
          </a:xfrm>
          <a:prstGeom prst="roundRect">
            <a:avLst>
              <a:gd name="adj" fmla="val 946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latin typeface="Santander Text" panose="020B0504020201020104" pitchFamily="34" charset="0"/>
              </a:rPr>
              <a:t>3Q</a:t>
            </a:r>
          </a:p>
        </p:txBody>
      </p:sp>
      <p:cxnSp>
        <p:nvCxnSpPr>
          <p:cNvPr id="110" name="Straight Connector 157">
            <a:extLst>
              <a:ext uri="{FF2B5EF4-FFF2-40B4-BE49-F238E27FC236}">
                <a16:creationId xmlns:a16="http://schemas.microsoft.com/office/drawing/2014/main" id="{67715712-1E79-4FDB-917B-20E069AB661B}"/>
              </a:ext>
            </a:extLst>
          </p:cNvPr>
          <p:cNvCxnSpPr>
            <a:cxnSpLocks/>
          </p:cNvCxnSpPr>
          <p:nvPr/>
        </p:nvCxnSpPr>
        <p:spPr>
          <a:xfrm>
            <a:off x="2603861" y="1916445"/>
            <a:ext cx="8352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69">
            <a:extLst>
              <a:ext uri="{FF2B5EF4-FFF2-40B4-BE49-F238E27FC236}">
                <a16:creationId xmlns:a16="http://schemas.microsoft.com/office/drawing/2014/main" id="{F1F9FD71-C03C-4F68-A504-D9328B7C9330}"/>
              </a:ext>
            </a:extLst>
          </p:cNvPr>
          <p:cNvCxnSpPr>
            <a:cxnSpLocks/>
          </p:cNvCxnSpPr>
          <p:nvPr/>
        </p:nvCxnSpPr>
        <p:spPr>
          <a:xfrm>
            <a:off x="2603861" y="2416508"/>
            <a:ext cx="8352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85">
            <a:extLst>
              <a:ext uri="{FF2B5EF4-FFF2-40B4-BE49-F238E27FC236}">
                <a16:creationId xmlns:a16="http://schemas.microsoft.com/office/drawing/2014/main" id="{A387E50E-BF4A-4A3A-955B-8115A9EDD476}"/>
              </a:ext>
            </a:extLst>
          </p:cNvPr>
          <p:cNvCxnSpPr>
            <a:cxnSpLocks/>
          </p:cNvCxnSpPr>
          <p:nvPr/>
        </p:nvCxnSpPr>
        <p:spPr>
          <a:xfrm>
            <a:off x="2603861" y="2936562"/>
            <a:ext cx="8352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95">
            <a:extLst>
              <a:ext uri="{FF2B5EF4-FFF2-40B4-BE49-F238E27FC236}">
                <a16:creationId xmlns:a16="http://schemas.microsoft.com/office/drawing/2014/main" id="{5CF1A845-D33F-475D-8C12-EDEAE1AC0675}"/>
              </a:ext>
            </a:extLst>
          </p:cNvPr>
          <p:cNvCxnSpPr>
            <a:cxnSpLocks/>
          </p:cNvCxnSpPr>
          <p:nvPr/>
        </p:nvCxnSpPr>
        <p:spPr>
          <a:xfrm>
            <a:off x="2603861" y="3434243"/>
            <a:ext cx="8352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98">
            <a:extLst>
              <a:ext uri="{FF2B5EF4-FFF2-40B4-BE49-F238E27FC236}">
                <a16:creationId xmlns:a16="http://schemas.microsoft.com/office/drawing/2014/main" id="{133079CD-453D-4077-8D18-4C9780116600}"/>
              </a:ext>
            </a:extLst>
          </p:cNvPr>
          <p:cNvCxnSpPr>
            <a:cxnSpLocks/>
          </p:cNvCxnSpPr>
          <p:nvPr/>
        </p:nvCxnSpPr>
        <p:spPr>
          <a:xfrm>
            <a:off x="2603861" y="3943830"/>
            <a:ext cx="8352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215">
            <a:extLst>
              <a:ext uri="{FF2B5EF4-FFF2-40B4-BE49-F238E27FC236}">
                <a16:creationId xmlns:a16="http://schemas.microsoft.com/office/drawing/2014/main" id="{699B1FDF-2DE7-4411-AC80-A98B912C551C}"/>
              </a:ext>
            </a:extLst>
          </p:cNvPr>
          <p:cNvCxnSpPr>
            <a:cxnSpLocks/>
          </p:cNvCxnSpPr>
          <p:nvPr/>
        </p:nvCxnSpPr>
        <p:spPr>
          <a:xfrm>
            <a:off x="2603861" y="4458180"/>
            <a:ext cx="8352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219">
            <a:extLst>
              <a:ext uri="{FF2B5EF4-FFF2-40B4-BE49-F238E27FC236}">
                <a16:creationId xmlns:a16="http://schemas.microsoft.com/office/drawing/2014/main" id="{03316119-7550-4EBB-9603-7EC6AE3222E1}"/>
              </a:ext>
            </a:extLst>
          </p:cNvPr>
          <p:cNvCxnSpPr>
            <a:cxnSpLocks/>
          </p:cNvCxnSpPr>
          <p:nvPr/>
        </p:nvCxnSpPr>
        <p:spPr>
          <a:xfrm>
            <a:off x="2603861" y="4974911"/>
            <a:ext cx="8352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7" name="Imagen 135">
            <a:extLst>
              <a:ext uri="{FF2B5EF4-FFF2-40B4-BE49-F238E27FC236}">
                <a16:creationId xmlns:a16="http://schemas.microsoft.com/office/drawing/2014/main" id="{CA8A8C08-971C-4EE8-A87C-00EA245A051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03" r="12889"/>
          <a:stretch/>
        </p:blipFill>
        <p:spPr>
          <a:xfrm>
            <a:off x="7522276" y="1531792"/>
            <a:ext cx="229743" cy="225537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sp>
        <p:nvSpPr>
          <p:cNvPr id="118" name="TextBox 221">
            <a:extLst>
              <a:ext uri="{FF2B5EF4-FFF2-40B4-BE49-F238E27FC236}">
                <a16:creationId xmlns:a16="http://schemas.microsoft.com/office/drawing/2014/main" id="{B2796E02-574D-4A44-9271-76ECA1C99073}"/>
              </a:ext>
            </a:extLst>
          </p:cNvPr>
          <p:cNvSpPr txBox="1"/>
          <p:nvPr/>
        </p:nvSpPr>
        <p:spPr>
          <a:xfrm>
            <a:off x="7699765" y="1526984"/>
            <a:ext cx="114556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ES" sz="1050" b="1">
                <a:latin typeface="Santander Text"/>
              </a:rPr>
              <a:t>30.10</a:t>
            </a:r>
            <a:endParaRPr lang="en-US"/>
          </a:p>
        </p:txBody>
      </p:sp>
      <p:sp>
        <p:nvSpPr>
          <p:cNvPr id="119" name="TextBox 229">
            <a:extLst>
              <a:ext uri="{FF2B5EF4-FFF2-40B4-BE49-F238E27FC236}">
                <a16:creationId xmlns:a16="http://schemas.microsoft.com/office/drawing/2014/main" id="{EE9BB30D-DA65-4F4A-8C00-88F25BDDF584}"/>
              </a:ext>
            </a:extLst>
          </p:cNvPr>
          <p:cNvSpPr txBox="1"/>
          <p:nvPr/>
        </p:nvSpPr>
        <p:spPr>
          <a:xfrm>
            <a:off x="3780660" y="1522668"/>
            <a:ext cx="6093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1">
                <a:latin typeface="Santander Text" panose="020B0504020201020104" pitchFamily="34" charset="0"/>
              </a:rPr>
              <a:t>Done</a:t>
            </a:r>
          </a:p>
        </p:txBody>
      </p:sp>
      <p:pic>
        <p:nvPicPr>
          <p:cNvPr id="120" name="Picture 164">
            <a:extLst>
              <a:ext uri="{FF2B5EF4-FFF2-40B4-BE49-F238E27FC236}">
                <a16:creationId xmlns:a16="http://schemas.microsoft.com/office/drawing/2014/main" id="{42D80646-EFFC-4F00-B322-798DD3A14D75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167" b="85500" l="6667" r="93874">
                        <a14:foregroundMark x1="30991" y1="22500" x2="30991" y2="22500"/>
                        <a14:foregroundMark x1="28108" y1="31000" x2="28108" y2="31000"/>
                        <a14:foregroundMark x1="29009" y1="26167" x2="29009" y2="26167"/>
                        <a14:foregroundMark x1="27207" y1="24167" x2="27207" y2="24167"/>
                        <a14:foregroundMark x1="27027" y1="24667" x2="26486" y2="25500"/>
                        <a14:foregroundMark x1="26306" y1="28667" x2="26306" y2="28667"/>
                        <a14:foregroundMark x1="25946" y1="32333" x2="25946" y2="32333"/>
                        <a14:foregroundMark x1="25946" y1="30833" x2="25946" y2="30833"/>
                        <a14:foregroundMark x1="26486" y1="27667" x2="26486" y2="27667"/>
                        <a14:foregroundMark x1="29730" y1="27167" x2="26486" y2="26500"/>
                        <a14:foregroundMark x1="30450" y1="30167" x2="30450" y2="30167"/>
                        <a14:foregroundMark x1="28829" y1="29000" x2="28829" y2="29000"/>
                        <a14:foregroundMark x1="28649" y1="29000" x2="28649" y2="29000"/>
                        <a14:foregroundMark x1="27748" y1="25167" x2="27748" y2="25167"/>
                        <a14:foregroundMark x1="27748" y1="21667" x2="27748" y2="21667"/>
                        <a14:foregroundMark x1="27928" y1="20833" x2="28108" y2="19833"/>
                        <a14:foregroundMark x1="28108" y1="18500" x2="28288" y2="17833"/>
                        <a14:foregroundMark x1="17477" y1="24667" x2="17477" y2="24667"/>
                        <a14:foregroundMark x1="17477" y1="24667" x2="17477" y2="24667"/>
                        <a14:foregroundMark x1="17477" y1="24667" x2="17477" y2="24667"/>
                        <a14:foregroundMark x1="17117" y1="24000" x2="17117" y2="24000"/>
                        <a14:foregroundMark x1="17117" y1="24000" x2="17117" y2="24000"/>
                        <a14:foregroundMark x1="33874" y1="26833" x2="33874" y2="26833"/>
                        <a14:foregroundMark x1="33874" y1="26833" x2="33874" y2="26833"/>
                        <a14:foregroundMark x1="42883" y1="17667" x2="42883" y2="17667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39099" y1="16167" x2="39099" y2="16167"/>
                        <a14:foregroundMark x1="36937" y1="17667" x2="36937" y2="17667"/>
                        <a14:foregroundMark x1="34775" y1="16667" x2="34775" y2="16000"/>
                        <a14:foregroundMark x1="34775" y1="14167" x2="34775" y2="14167"/>
                        <a14:foregroundMark x1="44144" y1="14000" x2="44144" y2="14000"/>
                        <a14:foregroundMark x1="47748" y1="34167" x2="47748" y2="34167"/>
                        <a14:foregroundMark x1="47568" y1="36000" x2="47207" y2="37167"/>
                        <a14:foregroundMark x1="46126" y1="38833" x2="45946" y2="39500"/>
                        <a14:foregroundMark x1="43784" y1="41500" x2="39279" y2="42000"/>
                        <a14:foregroundMark x1="37117" y1="42667" x2="35495" y2="43000"/>
                        <a14:foregroundMark x1="32793" y1="43000" x2="29009" y2="42167"/>
                        <a14:foregroundMark x1="25946" y1="41500" x2="23423" y2="41167"/>
                        <a14:foregroundMark x1="19099" y1="40167" x2="16757" y2="40500"/>
                        <a14:foregroundMark x1="16577" y1="40500" x2="16396" y2="39333"/>
                        <a14:foregroundMark x1="17117" y1="32833" x2="17658" y2="31500"/>
                        <a14:foregroundMark x1="17658" y1="30333" x2="17658" y2="30333"/>
                        <a14:foregroundMark x1="18018" y1="29500" x2="18018" y2="29500"/>
                        <a14:foregroundMark x1="12613" y1="35667" x2="12613" y2="35667"/>
                        <a14:foregroundMark x1="11892" y1="37000" x2="11892" y2="37000"/>
                        <a14:foregroundMark x1="11351" y1="40000" x2="11171" y2="40833"/>
                        <a14:foregroundMark x1="10631" y1="42333" x2="10631" y2="42333"/>
                        <a14:foregroundMark x1="10450" y1="42833" x2="9009" y2="41667"/>
                        <a14:foregroundMark x1="8829" y1="39833" x2="8829" y2="38167"/>
                        <a14:foregroundMark x1="8829" y1="36500" x2="9009" y2="35333"/>
                        <a14:foregroundMark x1="9550" y1="33000" x2="10631" y2="30167"/>
                        <a14:foregroundMark x1="10811" y1="29000" x2="10811" y2="29000"/>
                        <a14:foregroundMark x1="11171" y1="29000" x2="11171" y2="29000"/>
                        <a14:foregroundMark x1="21441" y1="17500" x2="21441" y2="17500"/>
                        <a14:foregroundMark x1="21802" y1="17333" x2="22703" y2="16667"/>
                        <a14:foregroundMark x1="24505" y1="16000" x2="26306" y2="14667"/>
                        <a14:foregroundMark x1="28288" y1="13333" x2="29730" y2="12500"/>
                        <a14:foregroundMark x1="31171" y1="12167" x2="32613" y2="11500"/>
                        <a14:foregroundMark x1="34775" y1="11333" x2="35856" y2="10667"/>
                        <a14:foregroundMark x1="39279" y1="10000" x2="40180" y2="9667"/>
                        <a14:foregroundMark x1="46847" y1="9333" x2="48288" y2="9167"/>
                        <a14:foregroundMark x1="49730" y1="9167" x2="49730" y2="9167"/>
                        <a14:foregroundMark x1="47207" y1="6167" x2="47207" y2="6167"/>
                        <a14:foregroundMark x1="65405" y1="9667" x2="65405" y2="9667"/>
                        <a14:foregroundMark x1="65766" y1="12667" x2="65045" y2="14000"/>
                        <a14:foregroundMark x1="64144" y1="15667" x2="64144" y2="15667"/>
                        <a14:foregroundMark x1="64144" y1="17500" x2="64144" y2="17500"/>
                        <a14:foregroundMark x1="64324" y1="21333" x2="64324" y2="21333"/>
                        <a14:foregroundMark x1="65225" y1="25167" x2="66126" y2="27500"/>
                        <a14:foregroundMark x1="68108" y1="31500" x2="68288" y2="32333"/>
                        <a14:foregroundMark x1="69189" y1="33833" x2="69189" y2="33833"/>
                        <a14:foregroundMark x1="70270" y1="34500" x2="70450" y2="35167"/>
                        <a14:foregroundMark x1="70270" y1="39833" x2="67568" y2="38500"/>
                        <a14:foregroundMark x1="61441" y1="35833" x2="59640" y2="32333"/>
                        <a14:foregroundMark x1="57658" y1="29000" x2="57658" y2="27333"/>
                        <a14:foregroundMark x1="57838" y1="24500" x2="58378" y2="21333"/>
                        <a14:foregroundMark x1="58378" y1="19000" x2="59099" y2="16333"/>
                        <a14:foregroundMark x1="61622" y1="16000" x2="67928" y2="19833"/>
                        <a14:foregroundMark x1="73694" y1="23833" x2="74775" y2="24500"/>
                        <a14:foregroundMark x1="77477" y1="26167" x2="78198" y2="28667"/>
                        <a14:foregroundMark x1="79640" y1="36000" x2="80000" y2="37833"/>
                        <a14:foregroundMark x1="80000" y1="40500" x2="78198" y2="40667"/>
                        <a14:foregroundMark x1="75856" y1="40000" x2="74054" y2="40000"/>
                        <a14:foregroundMark x1="70991" y1="39833" x2="69730" y2="39833"/>
                        <a14:foregroundMark x1="71892" y1="63833" x2="71892" y2="63833"/>
                        <a14:foregroundMark x1="71892" y1="64333" x2="72432" y2="65500"/>
                        <a14:foregroundMark x1="88649" y1="51333" x2="88649" y2="51333"/>
                        <a14:foregroundMark x1="88829" y1="51333" x2="88829" y2="51333"/>
                        <a14:foregroundMark x1="89369" y1="54833" x2="89550" y2="56333"/>
                        <a14:foregroundMark x1="89550" y1="57667" x2="88829" y2="59000"/>
                        <a14:foregroundMark x1="38559" y1="17667" x2="38559" y2="17667"/>
                        <a14:foregroundMark x1="45225" y1="21167" x2="45225" y2="21167"/>
                        <a14:foregroundMark x1="45225" y1="21167" x2="45225" y2="21167"/>
                        <a14:foregroundMark x1="44144" y1="12500" x2="44144" y2="12500"/>
                        <a14:foregroundMark x1="60360" y1="81500" x2="60360" y2="81500"/>
                        <a14:foregroundMark x1="54054" y1="82833" x2="54054" y2="82833"/>
                        <a14:foregroundMark x1="49369" y1="85500" x2="49369" y2="85500"/>
                        <a14:foregroundMark x1="37117" y1="15667" x2="37117" y2="15667"/>
                        <a14:foregroundMark x1="27748" y1="20833" x2="27748" y2="20833"/>
                        <a14:foregroundMark x1="28649" y1="23333" x2="28649" y2="23333"/>
                        <a14:foregroundMark x1="24505" y1="25167" x2="24505" y2="25167"/>
                        <a14:foregroundMark x1="24144" y1="28667" x2="24144" y2="28667"/>
                        <a14:foregroundMark x1="20360" y1="25833" x2="20360" y2="25833"/>
                        <a14:foregroundMark x1="36396" y1="26000" x2="36396" y2="26000"/>
                        <a14:foregroundMark x1="32793" y1="33167" x2="32793" y2="33167"/>
                        <a14:foregroundMark x1="31712" y1="27167" x2="31712" y2="27167"/>
                        <a14:foregroundMark x1="94054" y1="48167" x2="94054" y2="48167"/>
                        <a14:foregroundMark x1="6667" y1="48167" x2="6667" y2="48167"/>
                        <a14:foregroundMark x1="61982" y1="26000" x2="61982" y2="26000"/>
                        <a14:foregroundMark x1="62162" y1="33667" x2="62162" y2="33667"/>
                        <a14:foregroundMark x1="60000" y1="39833" x2="60000" y2="39833"/>
                        <a14:foregroundMark x1="60000" y1="40167" x2="62162" y2="23000"/>
                        <a14:foregroundMark x1="62162" y1="23000" x2="76577" y2="27833"/>
                        <a14:foregroundMark x1="76577" y1="27833" x2="67027" y2="40167"/>
                        <a14:foregroundMark x1="67027" y1="40167" x2="65405" y2="38667"/>
                        <a14:foregroundMark x1="76216" y1="31833" x2="76216" y2="31833"/>
                        <a14:foregroundMark x1="83243" y1="35833" x2="83243" y2="35833"/>
                        <a14:foregroundMark x1="84144" y1="43333" x2="84144" y2="43333"/>
                        <a14:foregroundMark x1="92252" y1="42667" x2="75495" y2="17667"/>
                        <a14:foregroundMark x1="75495" y1="17667" x2="62342" y2="9500"/>
                        <a14:foregroundMark x1="62342" y1="9500" x2="54054" y2="7833"/>
                        <a14:foregroundMark x1="53874" y1="9333" x2="55495" y2="38667"/>
                        <a14:foregroundMark x1="55495" y1="38667" x2="70090" y2="43000"/>
                        <a14:foregroundMark x1="70090" y1="43000" x2="86847" y2="42833"/>
                        <a14:foregroundMark x1="86847" y1="42833" x2="87748" y2="38000"/>
                        <a14:foregroundMark x1="55495" y1="7000" x2="55495" y2="7000"/>
                        <a14:backgroundMark x1="90811" y1="12167" x2="90811" y2="12167"/>
                        <a14:backgroundMark x1="17117" y1="6500" x2="17117" y2="6500"/>
                        <a14:backgroundMark x1="17117" y1="6500" x2="17117" y2="6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505" t="4352" r="3668" b="11878"/>
          <a:stretch/>
        </p:blipFill>
        <p:spPr>
          <a:xfrm>
            <a:off x="3598207" y="1522818"/>
            <a:ext cx="244905" cy="244192"/>
          </a:xfrm>
          <a:prstGeom prst="rect">
            <a:avLst/>
          </a:prstGeom>
        </p:spPr>
      </p:pic>
      <p:sp>
        <p:nvSpPr>
          <p:cNvPr id="121" name="TextBox 231">
            <a:extLst>
              <a:ext uri="{FF2B5EF4-FFF2-40B4-BE49-F238E27FC236}">
                <a16:creationId xmlns:a16="http://schemas.microsoft.com/office/drawing/2014/main" id="{A616D7CE-B3C4-481F-B850-9A13C2DA0C9B}"/>
              </a:ext>
            </a:extLst>
          </p:cNvPr>
          <p:cNvSpPr txBox="1"/>
          <p:nvPr/>
        </p:nvSpPr>
        <p:spPr>
          <a:xfrm>
            <a:off x="10219651" y="1519728"/>
            <a:ext cx="614064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ES" sz="1050" b="1">
                <a:latin typeface="Santander Text"/>
              </a:rPr>
              <a:t>02.12</a:t>
            </a:r>
            <a:endParaRPr lang="en-US"/>
          </a:p>
        </p:txBody>
      </p:sp>
      <p:pic>
        <p:nvPicPr>
          <p:cNvPr id="122" name="Imagen 133">
            <a:extLst>
              <a:ext uri="{FF2B5EF4-FFF2-40B4-BE49-F238E27FC236}">
                <a16:creationId xmlns:a16="http://schemas.microsoft.com/office/drawing/2014/main" id="{79CDCCCE-0687-497D-BB82-56C3CF7233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10" r="25645"/>
          <a:stretch/>
        </p:blipFill>
        <p:spPr>
          <a:xfrm>
            <a:off x="9996991" y="1532202"/>
            <a:ext cx="230097" cy="230816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23" name="Imagen 134">
            <a:extLst>
              <a:ext uri="{FF2B5EF4-FFF2-40B4-BE49-F238E27FC236}">
                <a16:creationId xmlns:a16="http://schemas.microsoft.com/office/drawing/2014/main" id="{09CB7D5D-D623-4881-AC23-D1C8A7C06021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5" r="25629"/>
          <a:stretch/>
        </p:blipFill>
        <p:spPr>
          <a:xfrm>
            <a:off x="4264593" y="1521843"/>
            <a:ext cx="226610" cy="226742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24" name="Imagen 137">
            <a:extLst>
              <a:ext uri="{FF2B5EF4-FFF2-40B4-BE49-F238E27FC236}">
                <a16:creationId xmlns:a16="http://schemas.microsoft.com/office/drawing/2014/main" id="{907CF048-E6A0-4496-ABE5-83C774035E7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921" b="89109" l="12381" r="95238">
                        <a14:foregroundMark x1="70476" y1="62376" x2="70476" y2="62376"/>
                      </a14:backgroundRemoval>
                    </a14:imgEffect>
                  </a14:imgLayer>
                </a14:imgProps>
              </a:ext>
            </a:extLst>
          </a:blip>
          <a:srcRect l="12754" t="7723" r="4858" b="10136"/>
          <a:stretch/>
        </p:blipFill>
        <p:spPr>
          <a:xfrm>
            <a:off x="4421652" y="1437637"/>
            <a:ext cx="117344" cy="112534"/>
          </a:xfrm>
          <a:prstGeom prst="rect">
            <a:avLst/>
          </a:prstGeom>
        </p:spPr>
      </p:pic>
      <p:sp>
        <p:nvSpPr>
          <p:cNvPr id="129" name="TextBox 239">
            <a:extLst>
              <a:ext uri="{FF2B5EF4-FFF2-40B4-BE49-F238E27FC236}">
                <a16:creationId xmlns:a16="http://schemas.microsoft.com/office/drawing/2014/main" id="{4E73ACFB-3AA8-4FEA-8C79-0BE0631A07C2}"/>
              </a:ext>
            </a:extLst>
          </p:cNvPr>
          <p:cNvSpPr txBox="1"/>
          <p:nvPr/>
        </p:nvSpPr>
        <p:spPr>
          <a:xfrm>
            <a:off x="4480324" y="1523026"/>
            <a:ext cx="10858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1">
                <a:latin typeface="Santander Text" panose="020B0504020201020104" pitchFamily="34" charset="0"/>
              </a:rPr>
              <a:t>Done*</a:t>
            </a:r>
          </a:p>
        </p:txBody>
      </p:sp>
      <p:sp>
        <p:nvSpPr>
          <p:cNvPr id="130" name="TextBox 243">
            <a:extLst>
              <a:ext uri="{FF2B5EF4-FFF2-40B4-BE49-F238E27FC236}">
                <a16:creationId xmlns:a16="http://schemas.microsoft.com/office/drawing/2014/main" id="{6741E4E1-DED1-4D37-A283-918200FDA223}"/>
              </a:ext>
            </a:extLst>
          </p:cNvPr>
          <p:cNvSpPr txBox="1"/>
          <p:nvPr/>
        </p:nvSpPr>
        <p:spPr>
          <a:xfrm>
            <a:off x="4789695" y="2028436"/>
            <a:ext cx="10858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1">
                <a:latin typeface="Santander Text" panose="020B0504020201020104" pitchFamily="34" charset="0"/>
              </a:rPr>
              <a:t>Done</a:t>
            </a:r>
          </a:p>
        </p:txBody>
      </p:sp>
      <p:pic>
        <p:nvPicPr>
          <p:cNvPr id="131" name="Imagen 126">
            <a:extLst>
              <a:ext uri="{FF2B5EF4-FFF2-40B4-BE49-F238E27FC236}">
                <a16:creationId xmlns:a16="http://schemas.microsoft.com/office/drawing/2014/main" id="{BDB35A5B-5572-4F0B-9976-B767542044BC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5" r="25629"/>
          <a:stretch/>
        </p:blipFill>
        <p:spPr>
          <a:xfrm>
            <a:off x="4568945" y="2046195"/>
            <a:ext cx="220750" cy="220879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32" name="Imagen 127">
            <a:extLst>
              <a:ext uri="{FF2B5EF4-FFF2-40B4-BE49-F238E27FC236}">
                <a16:creationId xmlns:a16="http://schemas.microsoft.com/office/drawing/2014/main" id="{E8461653-C626-4841-A67A-994D0DC9A0F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10" r="25645"/>
          <a:stretch/>
        </p:blipFill>
        <p:spPr>
          <a:xfrm>
            <a:off x="4323855" y="2056721"/>
            <a:ext cx="199876" cy="200500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33" name="Imagen 128">
            <a:extLst>
              <a:ext uri="{FF2B5EF4-FFF2-40B4-BE49-F238E27FC236}">
                <a16:creationId xmlns:a16="http://schemas.microsoft.com/office/drawing/2014/main" id="{A56EDB65-C78A-420A-B0D1-7FA2C57797F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921" b="89109" l="12381" r="95238">
                        <a14:foregroundMark x1="70476" y1="62376" x2="70476" y2="62376"/>
                      </a14:backgroundRemoval>
                    </a14:imgEffect>
                  </a14:imgLayer>
                </a14:imgProps>
              </a:ext>
            </a:extLst>
          </a:blip>
          <a:srcRect l="12754" t="7723" r="4858" b="10136"/>
          <a:stretch/>
        </p:blipFill>
        <p:spPr>
          <a:xfrm>
            <a:off x="4442275" y="1937544"/>
            <a:ext cx="117344" cy="112534"/>
          </a:xfrm>
          <a:prstGeom prst="rect">
            <a:avLst/>
          </a:prstGeom>
        </p:spPr>
      </p:pic>
      <p:pic>
        <p:nvPicPr>
          <p:cNvPr id="134" name="Imagen 134">
            <a:extLst>
              <a:ext uri="{FF2B5EF4-FFF2-40B4-BE49-F238E27FC236}">
                <a16:creationId xmlns:a16="http://schemas.microsoft.com/office/drawing/2014/main" id="{D08777F9-B6B1-403B-8EF1-370D43E0868D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5" r="25629"/>
          <a:stretch/>
        </p:blipFill>
        <p:spPr>
          <a:xfrm>
            <a:off x="8348511" y="2031830"/>
            <a:ext cx="226610" cy="226742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35" name="Imagen 137">
            <a:extLst>
              <a:ext uri="{FF2B5EF4-FFF2-40B4-BE49-F238E27FC236}">
                <a16:creationId xmlns:a16="http://schemas.microsoft.com/office/drawing/2014/main" id="{2085A6EB-D771-41EA-B89D-72BBEDA7D74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921" b="89109" l="12381" r="95238">
                        <a14:foregroundMark x1="70476" y1="62376" x2="70476" y2="62376"/>
                      </a14:backgroundRemoval>
                    </a14:imgEffect>
                  </a14:imgLayer>
                </a14:imgProps>
              </a:ext>
            </a:extLst>
          </a:blip>
          <a:srcRect l="12754" t="7723" r="4858" b="10136"/>
          <a:stretch/>
        </p:blipFill>
        <p:spPr>
          <a:xfrm>
            <a:off x="8505569" y="1947624"/>
            <a:ext cx="117344" cy="112534"/>
          </a:xfrm>
          <a:prstGeom prst="rect">
            <a:avLst/>
          </a:prstGeom>
        </p:spPr>
      </p:pic>
      <p:sp>
        <p:nvSpPr>
          <p:cNvPr id="136" name="TextBox 249">
            <a:extLst>
              <a:ext uri="{FF2B5EF4-FFF2-40B4-BE49-F238E27FC236}">
                <a16:creationId xmlns:a16="http://schemas.microsoft.com/office/drawing/2014/main" id="{65670DFD-BE46-4D98-A6E0-44D01029E7AB}"/>
              </a:ext>
            </a:extLst>
          </p:cNvPr>
          <p:cNvSpPr txBox="1"/>
          <p:nvPr/>
        </p:nvSpPr>
        <p:spPr>
          <a:xfrm>
            <a:off x="8590365" y="2006886"/>
            <a:ext cx="10858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1">
                <a:latin typeface="Santander Text" panose="020B0504020201020104" pitchFamily="34" charset="0"/>
              </a:rPr>
              <a:t>31.10</a:t>
            </a:r>
          </a:p>
        </p:txBody>
      </p:sp>
      <p:sp>
        <p:nvSpPr>
          <p:cNvPr id="137" name="TextBox 250">
            <a:extLst>
              <a:ext uri="{FF2B5EF4-FFF2-40B4-BE49-F238E27FC236}">
                <a16:creationId xmlns:a16="http://schemas.microsoft.com/office/drawing/2014/main" id="{823CBFEA-01FC-4C2D-A417-D19D652FABF9}"/>
              </a:ext>
            </a:extLst>
          </p:cNvPr>
          <p:cNvSpPr txBox="1"/>
          <p:nvPr/>
        </p:nvSpPr>
        <p:spPr>
          <a:xfrm>
            <a:off x="6919214" y="2559386"/>
            <a:ext cx="10858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1">
                <a:latin typeface="Santander Text" panose="020B0504020201020104" pitchFamily="34" charset="0"/>
              </a:rPr>
              <a:t>30.09</a:t>
            </a:r>
          </a:p>
        </p:txBody>
      </p:sp>
      <p:pic>
        <p:nvPicPr>
          <p:cNvPr id="138" name="Imagen 126">
            <a:extLst>
              <a:ext uri="{FF2B5EF4-FFF2-40B4-BE49-F238E27FC236}">
                <a16:creationId xmlns:a16="http://schemas.microsoft.com/office/drawing/2014/main" id="{B174A2D9-E5D2-4691-930B-19D57FA33701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5" r="25629"/>
          <a:stretch/>
        </p:blipFill>
        <p:spPr>
          <a:xfrm>
            <a:off x="6767318" y="2577145"/>
            <a:ext cx="220750" cy="220879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39" name="Imagen 134">
            <a:extLst>
              <a:ext uri="{FF2B5EF4-FFF2-40B4-BE49-F238E27FC236}">
                <a16:creationId xmlns:a16="http://schemas.microsoft.com/office/drawing/2014/main" id="{3522C42E-DB91-4E89-98A6-AEE64262EADF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5" r="25629"/>
          <a:stretch/>
        </p:blipFill>
        <p:spPr>
          <a:xfrm>
            <a:off x="9595766" y="2570630"/>
            <a:ext cx="226610" cy="226742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40" name="Imagen 137">
            <a:extLst>
              <a:ext uri="{FF2B5EF4-FFF2-40B4-BE49-F238E27FC236}">
                <a16:creationId xmlns:a16="http://schemas.microsoft.com/office/drawing/2014/main" id="{0F1D49AF-0CB7-4C70-A475-30CECBF2D13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921" b="89109" l="12381" r="95238">
                        <a14:foregroundMark x1="70476" y1="62376" x2="70476" y2="62376"/>
                      </a14:backgroundRemoval>
                    </a14:imgEffect>
                  </a14:imgLayer>
                </a14:imgProps>
              </a:ext>
            </a:extLst>
          </a:blip>
          <a:srcRect l="12754" t="7723" r="4858" b="10136"/>
          <a:stretch/>
        </p:blipFill>
        <p:spPr>
          <a:xfrm>
            <a:off x="9831590" y="2486424"/>
            <a:ext cx="117344" cy="112534"/>
          </a:xfrm>
          <a:prstGeom prst="rect">
            <a:avLst/>
          </a:prstGeom>
        </p:spPr>
      </p:pic>
      <p:sp>
        <p:nvSpPr>
          <p:cNvPr id="141" name="TextBox 256">
            <a:extLst>
              <a:ext uri="{FF2B5EF4-FFF2-40B4-BE49-F238E27FC236}">
                <a16:creationId xmlns:a16="http://schemas.microsoft.com/office/drawing/2014/main" id="{E490FB17-FA50-43EA-9F9A-CB59DE788D7A}"/>
              </a:ext>
            </a:extLst>
          </p:cNvPr>
          <p:cNvSpPr txBox="1"/>
          <p:nvPr/>
        </p:nvSpPr>
        <p:spPr>
          <a:xfrm>
            <a:off x="9807457" y="2545686"/>
            <a:ext cx="10858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1">
                <a:latin typeface="Santander Text" panose="020B0504020201020104" pitchFamily="34" charset="0"/>
              </a:rPr>
              <a:t>30.11</a:t>
            </a:r>
          </a:p>
        </p:txBody>
      </p:sp>
      <p:sp>
        <p:nvSpPr>
          <p:cNvPr id="142" name="TextBox 257">
            <a:extLst>
              <a:ext uri="{FF2B5EF4-FFF2-40B4-BE49-F238E27FC236}">
                <a16:creationId xmlns:a16="http://schemas.microsoft.com/office/drawing/2014/main" id="{49347959-B67A-420D-94BB-83A7F8C2A3C0}"/>
              </a:ext>
            </a:extLst>
          </p:cNvPr>
          <p:cNvSpPr txBox="1"/>
          <p:nvPr/>
        </p:nvSpPr>
        <p:spPr>
          <a:xfrm>
            <a:off x="4816901" y="3576527"/>
            <a:ext cx="10858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1">
                <a:latin typeface="Santander Text" panose="020B0504020201020104" pitchFamily="34" charset="0"/>
              </a:rPr>
              <a:t>Done</a:t>
            </a:r>
          </a:p>
        </p:txBody>
      </p:sp>
      <p:pic>
        <p:nvPicPr>
          <p:cNvPr id="143" name="Imagen 126">
            <a:extLst>
              <a:ext uri="{FF2B5EF4-FFF2-40B4-BE49-F238E27FC236}">
                <a16:creationId xmlns:a16="http://schemas.microsoft.com/office/drawing/2014/main" id="{79A12D60-B014-4981-BDD3-A2A91FB1424B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5" r="25629"/>
          <a:stretch/>
        </p:blipFill>
        <p:spPr>
          <a:xfrm>
            <a:off x="4587442" y="3594286"/>
            <a:ext cx="220750" cy="220879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sp>
        <p:nvSpPr>
          <p:cNvPr id="144" name="TextBox 259">
            <a:extLst>
              <a:ext uri="{FF2B5EF4-FFF2-40B4-BE49-F238E27FC236}">
                <a16:creationId xmlns:a16="http://schemas.microsoft.com/office/drawing/2014/main" id="{8866E4FA-27C0-4E05-B529-79C24B73F3A9}"/>
              </a:ext>
            </a:extLst>
          </p:cNvPr>
          <p:cNvSpPr txBox="1"/>
          <p:nvPr/>
        </p:nvSpPr>
        <p:spPr>
          <a:xfrm>
            <a:off x="6036909" y="4080735"/>
            <a:ext cx="1085850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ES" sz="1050" b="1">
                <a:latin typeface="Santander Text"/>
              </a:rPr>
              <a:t>Done</a:t>
            </a:r>
            <a:endParaRPr lang="en-US"/>
          </a:p>
        </p:txBody>
      </p:sp>
      <p:pic>
        <p:nvPicPr>
          <p:cNvPr id="145" name="Imagen 126">
            <a:extLst>
              <a:ext uri="{FF2B5EF4-FFF2-40B4-BE49-F238E27FC236}">
                <a16:creationId xmlns:a16="http://schemas.microsoft.com/office/drawing/2014/main" id="{396C4E98-B9FB-4C13-9F70-94E8CAFA030A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5" r="25629"/>
          <a:stretch/>
        </p:blipFill>
        <p:spPr>
          <a:xfrm>
            <a:off x="5807455" y="4098494"/>
            <a:ext cx="220750" cy="220879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sp>
        <p:nvSpPr>
          <p:cNvPr id="146" name="TextBox 261">
            <a:extLst>
              <a:ext uri="{FF2B5EF4-FFF2-40B4-BE49-F238E27FC236}">
                <a16:creationId xmlns:a16="http://schemas.microsoft.com/office/drawing/2014/main" id="{673D11D4-2279-40FB-BD26-A8061B576EDC}"/>
              </a:ext>
            </a:extLst>
          </p:cNvPr>
          <p:cNvSpPr txBox="1"/>
          <p:nvPr/>
        </p:nvSpPr>
        <p:spPr>
          <a:xfrm>
            <a:off x="10444958" y="4606416"/>
            <a:ext cx="6694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1">
                <a:latin typeface="Santander Text" panose="020B0504020201020104" pitchFamily="34" charset="0"/>
              </a:rPr>
              <a:t>06.12</a:t>
            </a:r>
          </a:p>
        </p:txBody>
      </p:sp>
      <p:pic>
        <p:nvPicPr>
          <p:cNvPr id="147" name="Imagen 126">
            <a:extLst>
              <a:ext uri="{FF2B5EF4-FFF2-40B4-BE49-F238E27FC236}">
                <a16:creationId xmlns:a16="http://schemas.microsoft.com/office/drawing/2014/main" id="{D9E57270-C4D3-44F9-9307-2197F87EB293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5" r="25629"/>
          <a:stretch/>
        </p:blipFill>
        <p:spPr>
          <a:xfrm>
            <a:off x="10224208" y="4624175"/>
            <a:ext cx="220750" cy="220879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sp>
        <p:nvSpPr>
          <p:cNvPr id="148" name="TextBox 263">
            <a:extLst>
              <a:ext uri="{FF2B5EF4-FFF2-40B4-BE49-F238E27FC236}">
                <a16:creationId xmlns:a16="http://schemas.microsoft.com/office/drawing/2014/main" id="{9459E4CD-805B-4D1E-966E-133C4CAC9E5C}"/>
              </a:ext>
            </a:extLst>
          </p:cNvPr>
          <p:cNvSpPr txBox="1"/>
          <p:nvPr/>
        </p:nvSpPr>
        <p:spPr>
          <a:xfrm>
            <a:off x="8502052" y="3063249"/>
            <a:ext cx="6694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1">
                <a:latin typeface="Santander Text" panose="020B0504020201020104" pitchFamily="34" charset="0"/>
              </a:rPr>
              <a:t>30.10</a:t>
            </a:r>
          </a:p>
        </p:txBody>
      </p:sp>
      <p:pic>
        <p:nvPicPr>
          <p:cNvPr id="149" name="Imagen 126">
            <a:extLst>
              <a:ext uri="{FF2B5EF4-FFF2-40B4-BE49-F238E27FC236}">
                <a16:creationId xmlns:a16="http://schemas.microsoft.com/office/drawing/2014/main" id="{52ACC61B-8A3C-4E52-80C0-31E5E5C5338E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5" r="25629"/>
          <a:stretch/>
        </p:blipFill>
        <p:spPr>
          <a:xfrm>
            <a:off x="8281302" y="3081008"/>
            <a:ext cx="220750" cy="220879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50" name="Imagen 127">
            <a:extLst>
              <a:ext uri="{FF2B5EF4-FFF2-40B4-BE49-F238E27FC236}">
                <a16:creationId xmlns:a16="http://schemas.microsoft.com/office/drawing/2014/main" id="{7BC609D3-5C78-4A9D-831A-9D4822569DE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10" r="25645"/>
          <a:stretch/>
        </p:blipFill>
        <p:spPr>
          <a:xfrm>
            <a:off x="8038031" y="3101387"/>
            <a:ext cx="199876" cy="200500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51" name="Imagen 128">
            <a:extLst>
              <a:ext uri="{FF2B5EF4-FFF2-40B4-BE49-F238E27FC236}">
                <a16:creationId xmlns:a16="http://schemas.microsoft.com/office/drawing/2014/main" id="{8E0F3823-FE01-4121-BC27-9E6ACE262BE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921" b="89109" l="12381" r="95238">
                        <a14:foregroundMark x1="70476" y1="62376" x2="70476" y2="62376"/>
                      </a14:backgroundRemoval>
                    </a14:imgEffect>
                  </a14:imgLayer>
                </a14:imgProps>
              </a:ext>
            </a:extLst>
          </a:blip>
          <a:srcRect l="12754" t="7723" r="4858" b="10136"/>
          <a:stretch/>
        </p:blipFill>
        <p:spPr>
          <a:xfrm>
            <a:off x="8156451" y="2982210"/>
            <a:ext cx="117344" cy="112534"/>
          </a:xfrm>
          <a:prstGeom prst="rect">
            <a:avLst/>
          </a:prstGeom>
        </p:spPr>
      </p:pic>
      <p:pic>
        <p:nvPicPr>
          <p:cNvPr id="152" name="Imagen 128">
            <a:extLst>
              <a:ext uri="{FF2B5EF4-FFF2-40B4-BE49-F238E27FC236}">
                <a16:creationId xmlns:a16="http://schemas.microsoft.com/office/drawing/2014/main" id="{840CCAAE-281E-4F30-8142-60E37F75898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921" b="89109" l="12381" r="95238">
                        <a14:foregroundMark x1="70476" y1="62376" x2="70476" y2="62376"/>
                      </a14:backgroundRemoval>
                    </a14:imgEffect>
                  </a14:imgLayer>
                </a14:imgProps>
              </a:ext>
            </a:extLst>
          </a:blip>
          <a:srcRect l="12754" t="7723" r="4858" b="10136"/>
          <a:stretch/>
        </p:blipFill>
        <p:spPr>
          <a:xfrm>
            <a:off x="10119580" y="4522416"/>
            <a:ext cx="117344" cy="112534"/>
          </a:xfrm>
          <a:prstGeom prst="rect">
            <a:avLst/>
          </a:prstGeom>
        </p:spPr>
      </p:pic>
      <p:pic>
        <p:nvPicPr>
          <p:cNvPr id="153" name="Imagen 135">
            <a:extLst>
              <a:ext uri="{FF2B5EF4-FFF2-40B4-BE49-F238E27FC236}">
                <a16:creationId xmlns:a16="http://schemas.microsoft.com/office/drawing/2014/main" id="{65238563-80AC-4E41-A61F-57EC33C525D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03" r="12889"/>
          <a:stretch/>
        </p:blipFill>
        <p:spPr>
          <a:xfrm>
            <a:off x="8077015" y="2028740"/>
            <a:ext cx="229743" cy="225537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54" name="Imagen 135">
            <a:extLst>
              <a:ext uri="{FF2B5EF4-FFF2-40B4-BE49-F238E27FC236}">
                <a16:creationId xmlns:a16="http://schemas.microsoft.com/office/drawing/2014/main" id="{E8F46404-E9ED-48B4-A783-600D9694190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03" r="12889"/>
          <a:stretch/>
        </p:blipFill>
        <p:spPr>
          <a:xfrm>
            <a:off x="10284773" y="2575238"/>
            <a:ext cx="229743" cy="225537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55" name="Imagen 135">
            <a:extLst>
              <a:ext uri="{FF2B5EF4-FFF2-40B4-BE49-F238E27FC236}">
                <a16:creationId xmlns:a16="http://schemas.microsoft.com/office/drawing/2014/main" id="{F83B1FBF-EB87-4B83-9397-658E0AD7458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03" r="12889"/>
          <a:stretch/>
        </p:blipFill>
        <p:spPr>
          <a:xfrm>
            <a:off x="9595766" y="4096228"/>
            <a:ext cx="229743" cy="225537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sp>
        <p:nvSpPr>
          <p:cNvPr id="156" name="TextBox 274">
            <a:extLst>
              <a:ext uri="{FF2B5EF4-FFF2-40B4-BE49-F238E27FC236}">
                <a16:creationId xmlns:a16="http://schemas.microsoft.com/office/drawing/2014/main" id="{556BA151-298C-4A31-91DC-3A2616745544}"/>
              </a:ext>
            </a:extLst>
          </p:cNvPr>
          <p:cNvSpPr txBox="1"/>
          <p:nvPr/>
        </p:nvSpPr>
        <p:spPr>
          <a:xfrm>
            <a:off x="9807457" y="4091420"/>
            <a:ext cx="6831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1">
                <a:latin typeface="Santander Text" panose="020B0504020201020104" pitchFamily="34" charset="0"/>
              </a:rPr>
              <a:t>30.11</a:t>
            </a:r>
          </a:p>
        </p:txBody>
      </p:sp>
      <p:pic>
        <p:nvPicPr>
          <p:cNvPr id="157" name="Imagen 130">
            <a:extLst>
              <a:ext uri="{FF2B5EF4-FFF2-40B4-BE49-F238E27FC236}">
                <a16:creationId xmlns:a16="http://schemas.microsoft.com/office/drawing/2014/main" id="{F52DD8ED-36C2-4415-B3DF-1780ED6B3E7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48" r="21248"/>
          <a:stretch/>
        </p:blipFill>
        <p:spPr>
          <a:xfrm>
            <a:off x="8413784" y="2565487"/>
            <a:ext cx="216879" cy="216748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sp>
        <p:nvSpPr>
          <p:cNvPr id="158" name="TextBox 278">
            <a:extLst>
              <a:ext uri="{FF2B5EF4-FFF2-40B4-BE49-F238E27FC236}">
                <a16:creationId xmlns:a16="http://schemas.microsoft.com/office/drawing/2014/main" id="{F0AE4AAB-D4C7-4DD7-B3E1-492F67F151E6}"/>
              </a:ext>
            </a:extLst>
          </p:cNvPr>
          <p:cNvSpPr txBox="1"/>
          <p:nvPr/>
        </p:nvSpPr>
        <p:spPr>
          <a:xfrm>
            <a:off x="8571091" y="2553670"/>
            <a:ext cx="5983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1">
                <a:latin typeface="Santander Text" panose="020B0504020201020104" pitchFamily="34" charset="0"/>
              </a:rPr>
              <a:t>31.10</a:t>
            </a:r>
          </a:p>
        </p:txBody>
      </p:sp>
      <p:sp>
        <p:nvSpPr>
          <p:cNvPr id="159" name="TextBox 279">
            <a:extLst>
              <a:ext uri="{FF2B5EF4-FFF2-40B4-BE49-F238E27FC236}">
                <a16:creationId xmlns:a16="http://schemas.microsoft.com/office/drawing/2014/main" id="{10A7EFBD-AD8E-4BDA-B121-5D8BC7474E49}"/>
              </a:ext>
            </a:extLst>
          </p:cNvPr>
          <p:cNvSpPr txBox="1"/>
          <p:nvPr/>
        </p:nvSpPr>
        <p:spPr>
          <a:xfrm>
            <a:off x="6919214" y="2031671"/>
            <a:ext cx="6093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1">
                <a:latin typeface="Santander Text" panose="020B0504020201020104" pitchFamily="34" charset="0"/>
              </a:rPr>
              <a:t>30.09</a:t>
            </a:r>
          </a:p>
        </p:txBody>
      </p:sp>
      <p:pic>
        <p:nvPicPr>
          <p:cNvPr id="160" name="Picture 164">
            <a:extLst>
              <a:ext uri="{FF2B5EF4-FFF2-40B4-BE49-F238E27FC236}">
                <a16:creationId xmlns:a16="http://schemas.microsoft.com/office/drawing/2014/main" id="{B69383C0-C94C-46BA-852C-F9CC5D444823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167" b="85500" l="6667" r="93874">
                        <a14:foregroundMark x1="30991" y1="22500" x2="30991" y2="22500"/>
                        <a14:foregroundMark x1="28108" y1="31000" x2="28108" y2="31000"/>
                        <a14:foregroundMark x1="29009" y1="26167" x2="29009" y2="26167"/>
                        <a14:foregroundMark x1="27207" y1="24167" x2="27207" y2="24167"/>
                        <a14:foregroundMark x1="27027" y1="24667" x2="26486" y2="25500"/>
                        <a14:foregroundMark x1="26306" y1="28667" x2="26306" y2="28667"/>
                        <a14:foregroundMark x1="25946" y1="32333" x2="25946" y2="32333"/>
                        <a14:foregroundMark x1="25946" y1="30833" x2="25946" y2="30833"/>
                        <a14:foregroundMark x1="26486" y1="27667" x2="26486" y2="27667"/>
                        <a14:foregroundMark x1="29730" y1="27167" x2="26486" y2="26500"/>
                        <a14:foregroundMark x1="30450" y1="30167" x2="30450" y2="30167"/>
                        <a14:foregroundMark x1="28829" y1="29000" x2="28829" y2="29000"/>
                        <a14:foregroundMark x1="28649" y1="29000" x2="28649" y2="29000"/>
                        <a14:foregroundMark x1="27748" y1="25167" x2="27748" y2="25167"/>
                        <a14:foregroundMark x1="27748" y1="21667" x2="27748" y2="21667"/>
                        <a14:foregroundMark x1="27928" y1="20833" x2="28108" y2="19833"/>
                        <a14:foregroundMark x1="28108" y1="18500" x2="28288" y2="17833"/>
                        <a14:foregroundMark x1="17477" y1="24667" x2="17477" y2="24667"/>
                        <a14:foregroundMark x1="17477" y1="24667" x2="17477" y2="24667"/>
                        <a14:foregroundMark x1="17477" y1="24667" x2="17477" y2="24667"/>
                        <a14:foregroundMark x1="17117" y1="24000" x2="17117" y2="24000"/>
                        <a14:foregroundMark x1="17117" y1="24000" x2="17117" y2="24000"/>
                        <a14:foregroundMark x1="33874" y1="26833" x2="33874" y2="26833"/>
                        <a14:foregroundMark x1="33874" y1="26833" x2="33874" y2="26833"/>
                        <a14:foregroundMark x1="42883" y1="17667" x2="42883" y2="17667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39099" y1="16167" x2="39099" y2="16167"/>
                        <a14:foregroundMark x1="36937" y1="17667" x2="36937" y2="17667"/>
                        <a14:foregroundMark x1="34775" y1="16667" x2="34775" y2="16000"/>
                        <a14:foregroundMark x1="34775" y1="14167" x2="34775" y2="14167"/>
                        <a14:foregroundMark x1="44144" y1="14000" x2="44144" y2="14000"/>
                        <a14:foregroundMark x1="47748" y1="34167" x2="47748" y2="34167"/>
                        <a14:foregroundMark x1="47568" y1="36000" x2="47207" y2="37167"/>
                        <a14:foregroundMark x1="46126" y1="38833" x2="45946" y2="39500"/>
                        <a14:foregroundMark x1="43784" y1="41500" x2="39279" y2="42000"/>
                        <a14:foregroundMark x1="37117" y1="42667" x2="35495" y2="43000"/>
                        <a14:foregroundMark x1="32793" y1="43000" x2="29009" y2="42167"/>
                        <a14:foregroundMark x1="25946" y1="41500" x2="23423" y2="41167"/>
                        <a14:foregroundMark x1="19099" y1="40167" x2="16757" y2="40500"/>
                        <a14:foregroundMark x1="16577" y1="40500" x2="16396" y2="39333"/>
                        <a14:foregroundMark x1="17117" y1="32833" x2="17658" y2="31500"/>
                        <a14:foregroundMark x1="17658" y1="30333" x2="17658" y2="30333"/>
                        <a14:foregroundMark x1="18018" y1="29500" x2="18018" y2="29500"/>
                        <a14:foregroundMark x1="12613" y1="35667" x2="12613" y2="35667"/>
                        <a14:foregroundMark x1="11892" y1="37000" x2="11892" y2="37000"/>
                        <a14:foregroundMark x1="11351" y1="40000" x2="11171" y2="40833"/>
                        <a14:foregroundMark x1="10631" y1="42333" x2="10631" y2="42333"/>
                        <a14:foregroundMark x1="10450" y1="42833" x2="9009" y2="41667"/>
                        <a14:foregroundMark x1="8829" y1="39833" x2="8829" y2="38167"/>
                        <a14:foregroundMark x1="8829" y1="36500" x2="9009" y2="35333"/>
                        <a14:foregroundMark x1="9550" y1="33000" x2="10631" y2="30167"/>
                        <a14:foregroundMark x1="10811" y1="29000" x2="10811" y2="29000"/>
                        <a14:foregroundMark x1="11171" y1="29000" x2="11171" y2="29000"/>
                        <a14:foregroundMark x1="21441" y1="17500" x2="21441" y2="17500"/>
                        <a14:foregroundMark x1="21802" y1="17333" x2="22703" y2="16667"/>
                        <a14:foregroundMark x1="24505" y1="16000" x2="26306" y2="14667"/>
                        <a14:foregroundMark x1="28288" y1="13333" x2="29730" y2="12500"/>
                        <a14:foregroundMark x1="31171" y1="12167" x2="32613" y2="11500"/>
                        <a14:foregroundMark x1="34775" y1="11333" x2="35856" y2="10667"/>
                        <a14:foregroundMark x1="39279" y1="10000" x2="40180" y2="9667"/>
                        <a14:foregroundMark x1="46847" y1="9333" x2="48288" y2="9167"/>
                        <a14:foregroundMark x1="49730" y1="9167" x2="49730" y2="9167"/>
                        <a14:foregroundMark x1="47207" y1="6167" x2="47207" y2="6167"/>
                        <a14:foregroundMark x1="65405" y1="9667" x2="65405" y2="9667"/>
                        <a14:foregroundMark x1="65766" y1="12667" x2="65045" y2="14000"/>
                        <a14:foregroundMark x1="64144" y1="15667" x2="64144" y2="15667"/>
                        <a14:foregroundMark x1="64144" y1="17500" x2="64144" y2="17500"/>
                        <a14:foregroundMark x1="64324" y1="21333" x2="64324" y2="21333"/>
                        <a14:foregroundMark x1="65225" y1="25167" x2="66126" y2="27500"/>
                        <a14:foregroundMark x1="68108" y1="31500" x2="68288" y2="32333"/>
                        <a14:foregroundMark x1="69189" y1="33833" x2="69189" y2="33833"/>
                        <a14:foregroundMark x1="70270" y1="34500" x2="70450" y2="35167"/>
                        <a14:foregroundMark x1="70270" y1="39833" x2="67568" y2="38500"/>
                        <a14:foregroundMark x1="61441" y1="35833" x2="59640" y2="32333"/>
                        <a14:foregroundMark x1="57658" y1="29000" x2="57658" y2="27333"/>
                        <a14:foregroundMark x1="57838" y1="24500" x2="58378" y2="21333"/>
                        <a14:foregroundMark x1="58378" y1="19000" x2="59099" y2="16333"/>
                        <a14:foregroundMark x1="61622" y1="16000" x2="67928" y2="19833"/>
                        <a14:foregroundMark x1="73694" y1="23833" x2="74775" y2="24500"/>
                        <a14:foregroundMark x1="77477" y1="26167" x2="78198" y2="28667"/>
                        <a14:foregroundMark x1="79640" y1="36000" x2="80000" y2="37833"/>
                        <a14:foregroundMark x1="80000" y1="40500" x2="78198" y2="40667"/>
                        <a14:foregroundMark x1="75856" y1="40000" x2="74054" y2="40000"/>
                        <a14:foregroundMark x1="70991" y1="39833" x2="69730" y2="39833"/>
                        <a14:foregroundMark x1="71892" y1="63833" x2="71892" y2="63833"/>
                        <a14:foregroundMark x1="71892" y1="64333" x2="72432" y2="65500"/>
                        <a14:foregroundMark x1="88649" y1="51333" x2="88649" y2="51333"/>
                        <a14:foregroundMark x1="88829" y1="51333" x2="88829" y2="51333"/>
                        <a14:foregroundMark x1="89369" y1="54833" x2="89550" y2="56333"/>
                        <a14:foregroundMark x1="89550" y1="57667" x2="88829" y2="59000"/>
                        <a14:foregroundMark x1="38559" y1="17667" x2="38559" y2="17667"/>
                        <a14:foregroundMark x1="45225" y1="21167" x2="45225" y2="21167"/>
                        <a14:foregroundMark x1="45225" y1="21167" x2="45225" y2="21167"/>
                        <a14:foregroundMark x1="44144" y1="12500" x2="44144" y2="12500"/>
                        <a14:foregroundMark x1="60360" y1="81500" x2="60360" y2="81500"/>
                        <a14:foregroundMark x1="54054" y1="82833" x2="54054" y2="82833"/>
                        <a14:foregroundMark x1="49369" y1="85500" x2="49369" y2="85500"/>
                        <a14:foregroundMark x1="37117" y1="15667" x2="37117" y2="15667"/>
                        <a14:foregroundMark x1="27748" y1="20833" x2="27748" y2="20833"/>
                        <a14:foregroundMark x1="28649" y1="23333" x2="28649" y2="23333"/>
                        <a14:foregroundMark x1="24505" y1="25167" x2="24505" y2="25167"/>
                        <a14:foregroundMark x1="24144" y1="28667" x2="24144" y2="28667"/>
                        <a14:foregroundMark x1="20360" y1="25833" x2="20360" y2="25833"/>
                        <a14:foregroundMark x1="36396" y1="26000" x2="36396" y2="26000"/>
                        <a14:foregroundMark x1="32793" y1="33167" x2="32793" y2="33167"/>
                        <a14:foregroundMark x1="31712" y1="27167" x2="31712" y2="27167"/>
                        <a14:foregroundMark x1="94054" y1="48167" x2="94054" y2="48167"/>
                        <a14:foregroundMark x1="6667" y1="48167" x2="6667" y2="48167"/>
                        <a14:foregroundMark x1="61982" y1="26000" x2="61982" y2="26000"/>
                        <a14:foregroundMark x1="62162" y1="33667" x2="62162" y2="33667"/>
                        <a14:foregroundMark x1="60000" y1="39833" x2="60000" y2="39833"/>
                        <a14:foregroundMark x1="60000" y1="40167" x2="62162" y2="23000"/>
                        <a14:foregroundMark x1="62162" y1="23000" x2="76577" y2="27833"/>
                        <a14:foregroundMark x1="76577" y1="27833" x2="67027" y2="40167"/>
                        <a14:foregroundMark x1="67027" y1="40167" x2="65405" y2="38667"/>
                        <a14:foregroundMark x1="76216" y1="31833" x2="76216" y2="31833"/>
                        <a14:foregroundMark x1="83243" y1="35833" x2="83243" y2="35833"/>
                        <a14:foregroundMark x1="84144" y1="43333" x2="84144" y2="43333"/>
                        <a14:foregroundMark x1="92252" y1="42667" x2="75495" y2="17667"/>
                        <a14:foregroundMark x1="75495" y1="17667" x2="62342" y2="9500"/>
                        <a14:foregroundMark x1="62342" y1="9500" x2="54054" y2="7833"/>
                        <a14:foregroundMark x1="53874" y1="9333" x2="55495" y2="38667"/>
                        <a14:foregroundMark x1="55495" y1="38667" x2="70090" y2="43000"/>
                        <a14:foregroundMark x1="70090" y1="43000" x2="86847" y2="42833"/>
                        <a14:foregroundMark x1="86847" y1="42833" x2="87748" y2="38000"/>
                        <a14:foregroundMark x1="55495" y1="7000" x2="55495" y2="7000"/>
                        <a14:backgroundMark x1="90811" y1="12167" x2="90811" y2="12167"/>
                        <a14:backgroundMark x1="17117" y1="6500" x2="17117" y2="6500"/>
                        <a14:backgroundMark x1="17117" y1="6500" x2="17117" y2="6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505" t="4352" r="3668" b="11878"/>
          <a:stretch/>
        </p:blipFill>
        <p:spPr>
          <a:xfrm>
            <a:off x="6761661" y="2031821"/>
            <a:ext cx="244905" cy="244192"/>
          </a:xfrm>
          <a:prstGeom prst="rect">
            <a:avLst/>
          </a:prstGeom>
        </p:spPr>
      </p:pic>
      <p:pic>
        <p:nvPicPr>
          <p:cNvPr id="161" name="Picture 164">
            <a:extLst>
              <a:ext uri="{FF2B5EF4-FFF2-40B4-BE49-F238E27FC236}">
                <a16:creationId xmlns:a16="http://schemas.microsoft.com/office/drawing/2014/main" id="{1C6AE82C-7534-45A6-97B8-2BBC962767C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167" b="85500" l="6667" r="93874">
                        <a14:foregroundMark x1="30991" y1="22500" x2="30991" y2="22500"/>
                        <a14:foregroundMark x1="28108" y1="31000" x2="28108" y2="31000"/>
                        <a14:foregroundMark x1="29009" y1="26167" x2="29009" y2="26167"/>
                        <a14:foregroundMark x1="27207" y1="24167" x2="27207" y2="24167"/>
                        <a14:foregroundMark x1="27027" y1="24667" x2="26486" y2="25500"/>
                        <a14:foregroundMark x1="26306" y1="28667" x2="26306" y2="28667"/>
                        <a14:foregroundMark x1="25946" y1="32333" x2="25946" y2="32333"/>
                        <a14:foregroundMark x1="25946" y1="30833" x2="25946" y2="30833"/>
                        <a14:foregroundMark x1="26486" y1="27667" x2="26486" y2="27667"/>
                        <a14:foregroundMark x1="29730" y1="27167" x2="26486" y2="26500"/>
                        <a14:foregroundMark x1="30450" y1="30167" x2="30450" y2="30167"/>
                        <a14:foregroundMark x1="28829" y1="29000" x2="28829" y2="29000"/>
                        <a14:foregroundMark x1="28649" y1="29000" x2="28649" y2="29000"/>
                        <a14:foregroundMark x1="27748" y1="25167" x2="27748" y2="25167"/>
                        <a14:foregroundMark x1="27748" y1="21667" x2="27748" y2="21667"/>
                        <a14:foregroundMark x1="27928" y1="20833" x2="28108" y2="19833"/>
                        <a14:foregroundMark x1="28108" y1="18500" x2="28288" y2="17833"/>
                        <a14:foregroundMark x1="17477" y1="24667" x2="17477" y2="24667"/>
                        <a14:foregroundMark x1="17477" y1="24667" x2="17477" y2="24667"/>
                        <a14:foregroundMark x1="17477" y1="24667" x2="17477" y2="24667"/>
                        <a14:foregroundMark x1="17117" y1="24000" x2="17117" y2="24000"/>
                        <a14:foregroundMark x1="17117" y1="24000" x2="17117" y2="24000"/>
                        <a14:foregroundMark x1="33874" y1="26833" x2="33874" y2="26833"/>
                        <a14:foregroundMark x1="33874" y1="26833" x2="33874" y2="26833"/>
                        <a14:foregroundMark x1="42883" y1="17667" x2="42883" y2="17667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39099" y1="16167" x2="39099" y2="16167"/>
                        <a14:foregroundMark x1="36937" y1="17667" x2="36937" y2="17667"/>
                        <a14:foregroundMark x1="34775" y1="16667" x2="34775" y2="16000"/>
                        <a14:foregroundMark x1="34775" y1="14167" x2="34775" y2="14167"/>
                        <a14:foregroundMark x1="44144" y1="14000" x2="44144" y2="14000"/>
                        <a14:foregroundMark x1="47748" y1="34167" x2="47748" y2="34167"/>
                        <a14:foregroundMark x1="47568" y1="36000" x2="47207" y2="37167"/>
                        <a14:foregroundMark x1="46126" y1="38833" x2="45946" y2="39500"/>
                        <a14:foregroundMark x1="43784" y1="41500" x2="39279" y2="42000"/>
                        <a14:foregroundMark x1="37117" y1="42667" x2="35495" y2="43000"/>
                        <a14:foregroundMark x1="32793" y1="43000" x2="29009" y2="42167"/>
                        <a14:foregroundMark x1="25946" y1="41500" x2="23423" y2="41167"/>
                        <a14:foregroundMark x1="19099" y1="40167" x2="16757" y2="40500"/>
                        <a14:foregroundMark x1="16577" y1="40500" x2="16396" y2="39333"/>
                        <a14:foregroundMark x1="17117" y1="32833" x2="17658" y2="31500"/>
                        <a14:foregroundMark x1="17658" y1="30333" x2="17658" y2="30333"/>
                        <a14:foregroundMark x1="18018" y1="29500" x2="18018" y2="29500"/>
                        <a14:foregroundMark x1="12613" y1="35667" x2="12613" y2="35667"/>
                        <a14:foregroundMark x1="11892" y1="37000" x2="11892" y2="37000"/>
                        <a14:foregroundMark x1="11351" y1="40000" x2="11171" y2="40833"/>
                        <a14:foregroundMark x1="10631" y1="42333" x2="10631" y2="42333"/>
                        <a14:foregroundMark x1="10450" y1="42833" x2="9009" y2="41667"/>
                        <a14:foregroundMark x1="8829" y1="39833" x2="8829" y2="38167"/>
                        <a14:foregroundMark x1="8829" y1="36500" x2="9009" y2="35333"/>
                        <a14:foregroundMark x1="9550" y1="33000" x2="10631" y2="30167"/>
                        <a14:foregroundMark x1="10811" y1="29000" x2="10811" y2="29000"/>
                        <a14:foregroundMark x1="11171" y1="29000" x2="11171" y2="29000"/>
                        <a14:foregroundMark x1="21441" y1="17500" x2="21441" y2="17500"/>
                        <a14:foregroundMark x1="21802" y1="17333" x2="22703" y2="16667"/>
                        <a14:foregroundMark x1="24505" y1="16000" x2="26306" y2="14667"/>
                        <a14:foregroundMark x1="28288" y1="13333" x2="29730" y2="12500"/>
                        <a14:foregroundMark x1="31171" y1="12167" x2="32613" y2="11500"/>
                        <a14:foregroundMark x1="34775" y1="11333" x2="35856" y2="10667"/>
                        <a14:foregroundMark x1="39279" y1="10000" x2="40180" y2="9667"/>
                        <a14:foregroundMark x1="46847" y1="9333" x2="48288" y2="9167"/>
                        <a14:foregroundMark x1="49730" y1="9167" x2="49730" y2="9167"/>
                        <a14:foregroundMark x1="47207" y1="6167" x2="47207" y2="6167"/>
                        <a14:foregroundMark x1="65405" y1="9667" x2="65405" y2="9667"/>
                        <a14:foregroundMark x1="65766" y1="12667" x2="65045" y2="14000"/>
                        <a14:foregroundMark x1="64144" y1="15667" x2="64144" y2="15667"/>
                        <a14:foregroundMark x1="64144" y1="17500" x2="64144" y2="17500"/>
                        <a14:foregroundMark x1="64324" y1="21333" x2="64324" y2="21333"/>
                        <a14:foregroundMark x1="65225" y1="25167" x2="66126" y2="27500"/>
                        <a14:foregroundMark x1="68108" y1="31500" x2="68288" y2="32333"/>
                        <a14:foregroundMark x1="69189" y1="33833" x2="69189" y2="33833"/>
                        <a14:foregroundMark x1="70270" y1="34500" x2="70450" y2="35167"/>
                        <a14:foregroundMark x1="70270" y1="39833" x2="67568" y2="38500"/>
                        <a14:foregroundMark x1="61441" y1="35833" x2="59640" y2="32333"/>
                        <a14:foregroundMark x1="57658" y1="29000" x2="57658" y2="27333"/>
                        <a14:foregroundMark x1="57838" y1="24500" x2="58378" y2="21333"/>
                        <a14:foregroundMark x1="58378" y1="19000" x2="59099" y2="16333"/>
                        <a14:foregroundMark x1="61622" y1="16000" x2="67928" y2="19833"/>
                        <a14:foregroundMark x1="73694" y1="23833" x2="74775" y2="24500"/>
                        <a14:foregroundMark x1="77477" y1="26167" x2="78198" y2="28667"/>
                        <a14:foregroundMark x1="79640" y1="36000" x2="80000" y2="37833"/>
                        <a14:foregroundMark x1="80000" y1="40500" x2="78198" y2="40667"/>
                        <a14:foregroundMark x1="75856" y1="40000" x2="74054" y2="40000"/>
                        <a14:foregroundMark x1="70991" y1="39833" x2="69730" y2="39833"/>
                        <a14:foregroundMark x1="71892" y1="63833" x2="71892" y2="63833"/>
                        <a14:foregroundMark x1="71892" y1="64333" x2="72432" y2="65500"/>
                        <a14:foregroundMark x1="88649" y1="51333" x2="88649" y2="51333"/>
                        <a14:foregroundMark x1="88829" y1="51333" x2="88829" y2="51333"/>
                        <a14:foregroundMark x1="89369" y1="54833" x2="89550" y2="56333"/>
                        <a14:foregroundMark x1="89550" y1="57667" x2="88829" y2="59000"/>
                        <a14:foregroundMark x1="38559" y1="17667" x2="38559" y2="17667"/>
                        <a14:foregroundMark x1="45225" y1="21167" x2="45225" y2="21167"/>
                        <a14:foregroundMark x1="45225" y1="21167" x2="45225" y2="21167"/>
                        <a14:foregroundMark x1="44144" y1="12500" x2="44144" y2="12500"/>
                        <a14:foregroundMark x1="60360" y1="81500" x2="60360" y2="81500"/>
                        <a14:foregroundMark x1="54054" y1="82833" x2="54054" y2="82833"/>
                        <a14:foregroundMark x1="49369" y1="85500" x2="49369" y2="85500"/>
                        <a14:foregroundMark x1="37117" y1="15667" x2="37117" y2="15667"/>
                        <a14:foregroundMark x1="27748" y1="20833" x2="27748" y2="20833"/>
                        <a14:foregroundMark x1="28649" y1="23333" x2="28649" y2="23333"/>
                        <a14:foregroundMark x1="24505" y1="25167" x2="24505" y2="25167"/>
                        <a14:foregroundMark x1="24144" y1="28667" x2="24144" y2="28667"/>
                        <a14:foregroundMark x1="20360" y1="25833" x2="20360" y2="25833"/>
                        <a14:foregroundMark x1="36396" y1="26000" x2="36396" y2="26000"/>
                        <a14:foregroundMark x1="32793" y1="33167" x2="32793" y2="33167"/>
                        <a14:foregroundMark x1="31712" y1="27167" x2="31712" y2="27167"/>
                        <a14:foregroundMark x1="94054" y1="48167" x2="94054" y2="48167"/>
                        <a14:foregroundMark x1="6667" y1="48167" x2="6667" y2="48167"/>
                        <a14:foregroundMark x1="61982" y1="26000" x2="61982" y2="26000"/>
                        <a14:foregroundMark x1="62162" y1="33667" x2="62162" y2="33667"/>
                        <a14:foregroundMark x1="60000" y1="39833" x2="60000" y2="39833"/>
                        <a14:foregroundMark x1="60000" y1="40167" x2="62162" y2="23000"/>
                        <a14:foregroundMark x1="62162" y1="23000" x2="76577" y2="27833"/>
                        <a14:foregroundMark x1="76577" y1="27833" x2="67027" y2="40167"/>
                        <a14:foregroundMark x1="67027" y1="40167" x2="65405" y2="38667"/>
                        <a14:foregroundMark x1="76216" y1="31833" x2="76216" y2="31833"/>
                        <a14:foregroundMark x1="83243" y1="35833" x2="83243" y2="35833"/>
                        <a14:foregroundMark x1="84144" y1="43333" x2="84144" y2="43333"/>
                        <a14:foregroundMark x1="92252" y1="42667" x2="75495" y2="17667"/>
                        <a14:foregroundMark x1="75495" y1="17667" x2="62342" y2="9500"/>
                        <a14:foregroundMark x1="62342" y1="9500" x2="54054" y2="7833"/>
                        <a14:foregroundMark x1="53874" y1="9333" x2="55495" y2="38667"/>
                        <a14:foregroundMark x1="55495" y1="38667" x2="70090" y2="43000"/>
                        <a14:foregroundMark x1="70090" y1="43000" x2="86847" y2="42833"/>
                        <a14:foregroundMark x1="86847" y1="42833" x2="87748" y2="38000"/>
                        <a14:foregroundMark x1="55495" y1="7000" x2="55495" y2="7000"/>
                        <a14:backgroundMark x1="90811" y1="12167" x2="90811" y2="12167"/>
                        <a14:backgroundMark x1="17117" y1="6500" x2="17117" y2="6500"/>
                        <a14:backgroundMark x1="17117" y1="6500" x2="17117" y2="6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505" t="4352" r="3668" b="11878"/>
          <a:stretch/>
        </p:blipFill>
        <p:spPr>
          <a:xfrm>
            <a:off x="8156477" y="2564163"/>
            <a:ext cx="244905" cy="244192"/>
          </a:xfrm>
          <a:prstGeom prst="rect">
            <a:avLst/>
          </a:prstGeom>
        </p:spPr>
      </p:pic>
      <p:sp>
        <p:nvSpPr>
          <p:cNvPr id="162" name="TextBox 284">
            <a:extLst>
              <a:ext uri="{FF2B5EF4-FFF2-40B4-BE49-F238E27FC236}">
                <a16:creationId xmlns:a16="http://schemas.microsoft.com/office/drawing/2014/main" id="{73B914B0-BF40-4C34-B9A3-7AB308D030F8}"/>
              </a:ext>
            </a:extLst>
          </p:cNvPr>
          <p:cNvSpPr txBox="1"/>
          <p:nvPr/>
        </p:nvSpPr>
        <p:spPr>
          <a:xfrm>
            <a:off x="7588112" y="2029483"/>
            <a:ext cx="563082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ES" sz="1050" b="1">
                <a:latin typeface="Santander Text"/>
              </a:rPr>
              <a:t>28.10</a:t>
            </a:r>
            <a:endParaRPr lang="en-US"/>
          </a:p>
        </p:txBody>
      </p:sp>
      <p:pic>
        <p:nvPicPr>
          <p:cNvPr id="163" name="Imagen 133">
            <a:extLst>
              <a:ext uri="{FF2B5EF4-FFF2-40B4-BE49-F238E27FC236}">
                <a16:creationId xmlns:a16="http://schemas.microsoft.com/office/drawing/2014/main" id="{13D5A67A-31A2-4DF6-9AB1-6883FE01F86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10" r="25645"/>
          <a:stretch/>
        </p:blipFill>
        <p:spPr>
          <a:xfrm>
            <a:off x="7416740" y="2041957"/>
            <a:ext cx="230097" cy="230816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64" name="Imagen 134">
            <a:extLst>
              <a:ext uri="{FF2B5EF4-FFF2-40B4-BE49-F238E27FC236}">
                <a16:creationId xmlns:a16="http://schemas.microsoft.com/office/drawing/2014/main" id="{71653D96-E96D-4D18-A92A-FA545E7B00D2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5" r="25629"/>
          <a:stretch/>
        </p:blipFill>
        <p:spPr>
          <a:xfrm>
            <a:off x="3834562" y="2046031"/>
            <a:ext cx="226610" cy="226742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65" name="Imagen 137">
            <a:extLst>
              <a:ext uri="{FF2B5EF4-FFF2-40B4-BE49-F238E27FC236}">
                <a16:creationId xmlns:a16="http://schemas.microsoft.com/office/drawing/2014/main" id="{549196DC-02C0-402C-9905-79965311B62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921" b="89109" l="12381" r="95238">
                        <a14:foregroundMark x1="70476" y1="62376" x2="70476" y2="62376"/>
                      </a14:backgroundRemoval>
                    </a14:imgEffect>
                  </a14:imgLayer>
                </a14:imgProps>
              </a:ext>
            </a:extLst>
          </a:blip>
          <a:srcRect l="12754" t="7723" r="4858" b="10136"/>
          <a:stretch/>
        </p:blipFill>
        <p:spPr>
          <a:xfrm>
            <a:off x="3991621" y="1961825"/>
            <a:ext cx="117344" cy="112534"/>
          </a:xfrm>
          <a:prstGeom prst="rect">
            <a:avLst/>
          </a:prstGeom>
        </p:spPr>
      </p:pic>
      <p:pic>
        <p:nvPicPr>
          <p:cNvPr id="166" name="Imagen 134">
            <a:extLst>
              <a:ext uri="{FF2B5EF4-FFF2-40B4-BE49-F238E27FC236}">
                <a16:creationId xmlns:a16="http://schemas.microsoft.com/office/drawing/2014/main" id="{0E8FC199-0A54-4729-AE0B-09448D0D0069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5" r="25629"/>
          <a:stretch/>
        </p:blipFill>
        <p:spPr>
          <a:xfrm>
            <a:off x="9595766" y="3073723"/>
            <a:ext cx="226610" cy="226742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67" name="Imagen 137">
            <a:extLst>
              <a:ext uri="{FF2B5EF4-FFF2-40B4-BE49-F238E27FC236}">
                <a16:creationId xmlns:a16="http://schemas.microsoft.com/office/drawing/2014/main" id="{AAD91AE7-DE4B-4E71-9A2C-CB4E1C28DB0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921" b="89109" l="12381" r="95238">
                        <a14:foregroundMark x1="70476" y1="62376" x2="70476" y2="62376"/>
                      </a14:backgroundRemoval>
                    </a14:imgEffect>
                  </a14:imgLayer>
                </a14:imgProps>
              </a:ext>
            </a:extLst>
          </a:blip>
          <a:srcRect l="12754" t="7723" r="4858" b="10136"/>
          <a:stretch/>
        </p:blipFill>
        <p:spPr>
          <a:xfrm>
            <a:off x="9758522" y="2989517"/>
            <a:ext cx="117344" cy="112534"/>
          </a:xfrm>
          <a:prstGeom prst="rect">
            <a:avLst/>
          </a:prstGeom>
        </p:spPr>
      </p:pic>
      <p:sp>
        <p:nvSpPr>
          <p:cNvPr id="176" name="TextBox 290">
            <a:extLst>
              <a:ext uri="{FF2B5EF4-FFF2-40B4-BE49-F238E27FC236}">
                <a16:creationId xmlns:a16="http://schemas.microsoft.com/office/drawing/2014/main" id="{F92997D9-8B15-4197-8EBE-281C0DE10351}"/>
              </a:ext>
            </a:extLst>
          </p:cNvPr>
          <p:cNvSpPr txBox="1"/>
          <p:nvPr/>
        </p:nvSpPr>
        <p:spPr>
          <a:xfrm>
            <a:off x="9807457" y="3048779"/>
            <a:ext cx="10858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1">
                <a:latin typeface="Santander Text" panose="020B0504020201020104" pitchFamily="34" charset="0"/>
              </a:rPr>
              <a:t>30.11</a:t>
            </a:r>
          </a:p>
        </p:txBody>
      </p:sp>
      <p:pic>
        <p:nvPicPr>
          <p:cNvPr id="177" name="Imagen 135">
            <a:extLst>
              <a:ext uri="{FF2B5EF4-FFF2-40B4-BE49-F238E27FC236}">
                <a16:creationId xmlns:a16="http://schemas.microsoft.com/office/drawing/2014/main" id="{7816ECF4-2235-4A5B-80B8-473404CEF0E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03" r="12889"/>
          <a:stretch/>
        </p:blipFill>
        <p:spPr>
          <a:xfrm>
            <a:off x="9595766" y="5081797"/>
            <a:ext cx="229743" cy="225537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cxnSp>
        <p:nvCxnSpPr>
          <p:cNvPr id="178" name="Straight Connector 293">
            <a:extLst>
              <a:ext uri="{FF2B5EF4-FFF2-40B4-BE49-F238E27FC236}">
                <a16:creationId xmlns:a16="http://schemas.microsoft.com/office/drawing/2014/main" id="{532DE6D0-C97B-4D9B-A188-9845258FD4F8}"/>
              </a:ext>
            </a:extLst>
          </p:cNvPr>
          <p:cNvCxnSpPr>
            <a:cxnSpLocks/>
          </p:cNvCxnSpPr>
          <p:nvPr/>
        </p:nvCxnSpPr>
        <p:spPr>
          <a:xfrm>
            <a:off x="2603861" y="5452813"/>
            <a:ext cx="8352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9" name="Imagen 127">
            <a:extLst>
              <a:ext uri="{FF2B5EF4-FFF2-40B4-BE49-F238E27FC236}">
                <a16:creationId xmlns:a16="http://schemas.microsoft.com/office/drawing/2014/main" id="{7DF39212-4261-4E44-976E-C2800933AEF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10" r="25645"/>
          <a:stretch/>
        </p:blipFill>
        <p:spPr>
          <a:xfrm>
            <a:off x="9988228" y="4633455"/>
            <a:ext cx="199876" cy="200500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sp>
        <p:nvSpPr>
          <p:cNvPr id="191" name="Rounded Rectangle 30">
            <a:extLst>
              <a:ext uri="{FF2B5EF4-FFF2-40B4-BE49-F238E27FC236}">
                <a16:creationId xmlns:a16="http://schemas.microsoft.com/office/drawing/2014/main" id="{2E5A4831-8A8C-4471-995C-C0A0C10C41C2}"/>
              </a:ext>
            </a:extLst>
          </p:cNvPr>
          <p:cNvSpPr/>
          <p:nvPr/>
        </p:nvSpPr>
        <p:spPr>
          <a:xfrm>
            <a:off x="11238304" y="1414876"/>
            <a:ext cx="693238" cy="357652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ligation Deadline</a:t>
            </a:r>
          </a:p>
        </p:txBody>
      </p:sp>
      <p:cxnSp>
        <p:nvCxnSpPr>
          <p:cNvPr id="194" name="Straight Connector 321">
            <a:extLst>
              <a:ext uri="{FF2B5EF4-FFF2-40B4-BE49-F238E27FC236}">
                <a16:creationId xmlns:a16="http://schemas.microsoft.com/office/drawing/2014/main" id="{380FDD6F-E0BD-4AB3-8B87-4778C295C15F}"/>
              </a:ext>
            </a:extLst>
          </p:cNvPr>
          <p:cNvCxnSpPr/>
          <p:nvPr/>
        </p:nvCxnSpPr>
        <p:spPr>
          <a:xfrm>
            <a:off x="11110024" y="1372651"/>
            <a:ext cx="9625" cy="4063396"/>
          </a:xfrm>
          <a:prstGeom prst="line">
            <a:avLst/>
          </a:prstGeom>
          <a:ln w="28575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TextBox 323">
            <a:extLst>
              <a:ext uri="{FF2B5EF4-FFF2-40B4-BE49-F238E27FC236}">
                <a16:creationId xmlns:a16="http://schemas.microsoft.com/office/drawing/2014/main" id="{6E4D096E-888C-4A23-97E3-19C1AADD87D5}"/>
              </a:ext>
            </a:extLst>
          </p:cNvPr>
          <p:cNvSpPr txBox="1"/>
          <p:nvPr/>
        </p:nvSpPr>
        <p:spPr>
          <a:xfrm>
            <a:off x="11302598" y="1775454"/>
            <a:ext cx="8150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>
                <a:latin typeface="Santander Text" panose="020B0504020201020104" pitchFamily="34" charset="0"/>
              </a:rPr>
              <a:t>02.01</a:t>
            </a:r>
          </a:p>
        </p:txBody>
      </p:sp>
      <p:sp>
        <p:nvSpPr>
          <p:cNvPr id="200" name="TextBox 100">
            <a:extLst>
              <a:ext uri="{FF2B5EF4-FFF2-40B4-BE49-F238E27FC236}">
                <a16:creationId xmlns:a16="http://schemas.microsoft.com/office/drawing/2014/main" id="{260126B7-B75D-4695-8C97-BB4F312DEC00}"/>
              </a:ext>
            </a:extLst>
          </p:cNvPr>
          <p:cNvSpPr txBox="1"/>
          <p:nvPr/>
        </p:nvSpPr>
        <p:spPr>
          <a:xfrm>
            <a:off x="7592267" y="5502979"/>
            <a:ext cx="37103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1050">
                <a:latin typeface="Santander Text" panose="020B0504020201020104" pitchFamily="34" charset="0"/>
              </a:rPr>
              <a:t>* Pending to receive final dates for the recommendations.</a:t>
            </a:r>
          </a:p>
        </p:txBody>
      </p:sp>
      <p:sp>
        <p:nvSpPr>
          <p:cNvPr id="214" name="TextBox 292">
            <a:extLst>
              <a:ext uri="{FF2B5EF4-FFF2-40B4-BE49-F238E27FC236}">
                <a16:creationId xmlns:a16="http://schemas.microsoft.com/office/drawing/2014/main" id="{7B8B37E7-A603-4A69-8BEC-685F080DA350}"/>
              </a:ext>
            </a:extLst>
          </p:cNvPr>
          <p:cNvSpPr txBox="1"/>
          <p:nvPr/>
        </p:nvSpPr>
        <p:spPr>
          <a:xfrm>
            <a:off x="9807457" y="5076989"/>
            <a:ext cx="66506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1">
                <a:latin typeface="Santander Text" panose="020B0504020201020104" pitchFamily="34" charset="0"/>
              </a:rPr>
              <a:t>30.11</a:t>
            </a:r>
          </a:p>
        </p:txBody>
      </p:sp>
      <p:sp>
        <p:nvSpPr>
          <p:cNvPr id="228" name="TextBox 256">
            <a:extLst>
              <a:ext uri="{FF2B5EF4-FFF2-40B4-BE49-F238E27FC236}">
                <a16:creationId xmlns:a16="http://schemas.microsoft.com/office/drawing/2014/main" id="{E40F7F4B-EB0D-4CB2-B1B1-96F53679AE39}"/>
              </a:ext>
            </a:extLst>
          </p:cNvPr>
          <p:cNvSpPr txBox="1"/>
          <p:nvPr/>
        </p:nvSpPr>
        <p:spPr>
          <a:xfrm>
            <a:off x="10486084" y="2543823"/>
            <a:ext cx="10858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1">
                <a:latin typeface="Santander Text" panose="020B0504020201020104" pitchFamily="34" charset="0"/>
              </a:rPr>
              <a:t>15.12</a:t>
            </a:r>
          </a:p>
        </p:txBody>
      </p:sp>
    </p:spTree>
    <p:extLst>
      <p:ext uri="{BB962C8B-B14F-4D97-AF65-F5344CB8AC3E}">
        <p14:creationId xmlns:p14="http://schemas.microsoft.com/office/powerpoint/2010/main" val="25757844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4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Estado de situació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"/>
              <a:t>0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2425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uloSlide"/>
          <p:cNvSpPr txBox="1">
            <a:spLocks/>
          </p:cNvSpPr>
          <p:nvPr/>
        </p:nvSpPr>
        <p:spPr>
          <a:xfrm>
            <a:off x="669432" y="111305"/>
            <a:ext cx="10695254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sz="2800">
                <a:solidFill>
                  <a:srgbClr val="EB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 Risk Advanced Platform</a:t>
            </a:r>
            <a:endParaRPr sz="2000">
              <a:solidFill>
                <a:prstClr val="white">
                  <a:lumMod val="50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11" name="Conector recto de flecha 26">
            <a:extLst>
              <a:ext uri="{FF2B5EF4-FFF2-40B4-BE49-F238E27FC236}">
                <a16:creationId xmlns:a16="http://schemas.microsoft.com/office/drawing/2014/main" id="{EA3C3439-9453-424B-95EC-80DA8D030670}"/>
              </a:ext>
            </a:extLst>
          </p:cNvPr>
          <p:cNvCxnSpPr/>
          <p:nvPr/>
        </p:nvCxnSpPr>
        <p:spPr>
          <a:xfrm>
            <a:off x="556375" y="5852503"/>
            <a:ext cx="7056000" cy="0"/>
          </a:xfrm>
          <a:prstGeom prst="straightConnector1">
            <a:avLst/>
          </a:prstGeom>
          <a:ln w="698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4" name="Group 237">
            <a:extLst>
              <a:ext uri="{FF2B5EF4-FFF2-40B4-BE49-F238E27FC236}">
                <a16:creationId xmlns:a16="http://schemas.microsoft.com/office/drawing/2014/main" id="{DE30797E-F964-4C20-9F19-CE8EB0493357}"/>
              </a:ext>
            </a:extLst>
          </p:cNvPr>
          <p:cNvGrpSpPr/>
          <p:nvPr/>
        </p:nvGrpSpPr>
        <p:grpSpPr>
          <a:xfrm>
            <a:off x="8042409" y="6155029"/>
            <a:ext cx="3907984" cy="363793"/>
            <a:chOff x="7062189" y="6389185"/>
            <a:chExt cx="3907984" cy="363793"/>
          </a:xfrm>
        </p:grpSpPr>
        <p:grpSp>
          <p:nvGrpSpPr>
            <p:cNvPr id="145" name="Group 238">
              <a:extLst>
                <a:ext uri="{FF2B5EF4-FFF2-40B4-BE49-F238E27FC236}">
                  <a16:creationId xmlns:a16="http://schemas.microsoft.com/office/drawing/2014/main" id="{6E263F23-BB1A-4D0F-B085-D5DF69CF19D6}"/>
                </a:ext>
              </a:extLst>
            </p:cNvPr>
            <p:cNvGrpSpPr/>
            <p:nvPr/>
          </p:nvGrpSpPr>
          <p:grpSpPr>
            <a:xfrm>
              <a:off x="7188689" y="6389185"/>
              <a:ext cx="3781484" cy="363793"/>
              <a:chOff x="714327" y="6335614"/>
              <a:chExt cx="3781484" cy="363793"/>
            </a:xfrm>
          </p:grpSpPr>
          <p:sp>
            <p:nvSpPr>
              <p:cNvPr id="167" name="TextBox 5">
                <a:extLst>
                  <a:ext uri="{FF2B5EF4-FFF2-40B4-BE49-F238E27FC236}">
                    <a16:creationId xmlns:a16="http://schemas.microsoft.com/office/drawing/2014/main" id="{872946D9-312F-4F85-9706-C87540A8A35F}"/>
                  </a:ext>
                </a:extLst>
              </p:cNvPr>
              <p:cNvSpPr txBox="1"/>
              <p:nvPr/>
            </p:nvSpPr>
            <p:spPr>
              <a:xfrm>
                <a:off x="2534940" y="6362383"/>
                <a:ext cx="78447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antander Text" panose="020B0504020201020104" pitchFamily="34" charset="0"/>
                    <a:ea typeface="+mn-ea"/>
                    <a:cs typeface="Calibri" panose="020F0502020204030204" pitchFamily="34" charset="0"/>
                  </a:rPr>
                  <a:t>Complete</a:t>
                </a:r>
              </a:p>
            </p:txBody>
          </p:sp>
          <p:sp>
            <p:nvSpPr>
              <p:cNvPr id="168" name="TextBox 6">
                <a:extLst>
                  <a:ext uri="{FF2B5EF4-FFF2-40B4-BE49-F238E27FC236}">
                    <a16:creationId xmlns:a16="http://schemas.microsoft.com/office/drawing/2014/main" id="{489686C9-AA6C-44C5-BA6A-FBB78AE18D0F}"/>
                  </a:ext>
                </a:extLst>
              </p:cNvPr>
              <p:cNvSpPr txBox="1"/>
              <p:nvPr/>
            </p:nvSpPr>
            <p:spPr>
              <a:xfrm>
                <a:off x="1828474" y="6360853"/>
                <a:ext cx="683488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antander Text" panose="020B0504020201020104" pitchFamily="34" charset="0"/>
                    <a:ea typeface="+mn-ea"/>
                    <a:cs typeface="Calibri" panose="020F0502020204030204" pitchFamily="34" charset="0"/>
                  </a:rPr>
                  <a:t>In progress</a:t>
                </a:r>
              </a:p>
            </p:txBody>
          </p:sp>
          <p:sp>
            <p:nvSpPr>
              <p:cNvPr id="169" name="TextBox 7">
                <a:extLst>
                  <a:ext uri="{FF2B5EF4-FFF2-40B4-BE49-F238E27FC236}">
                    <a16:creationId xmlns:a16="http://schemas.microsoft.com/office/drawing/2014/main" id="{0FC23FF2-C29A-4C27-8EAB-F4999F4FFB30}"/>
                  </a:ext>
                </a:extLst>
              </p:cNvPr>
              <p:cNvSpPr txBox="1"/>
              <p:nvPr/>
            </p:nvSpPr>
            <p:spPr>
              <a:xfrm>
                <a:off x="1328769" y="6349770"/>
                <a:ext cx="470608" cy="3385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antander Text" panose="020B0504020201020104" pitchFamily="34" charset="0"/>
                    <a:ea typeface="+mn-ea"/>
                    <a:cs typeface="Calibri" panose="020F0502020204030204" pitchFamily="34" charset="0"/>
                  </a:rPr>
                  <a:t>Slight delay</a:t>
                </a:r>
              </a:p>
            </p:txBody>
          </p:sp>
          <p:sp>
            <p:nvSpPr>
              <p:cNvPr id="170" name="TextBox 8">
                <a:extLst>
                  <a:ext uri="{FF2B5EF4-FFF2-40B4-BE49-F238E27FC236}">
                    <a16:creationId xmlns:a16="http://schemas.microsoft.com/office/drawing/2014/main" id="{840C34EF-A1A4-47C1-8AD4-B608E385D77E}"/>
                  </a:ext>
                </a:extLst>
              </p:cNvPr>
              <p:cNvSpPr txBox="1"/>
              <p:nvPr/>
            </p:nvSpPr>
            <p:spPr>
              <a:xfrm>
                <a:off x="714327" y="6335614"/>
                <a:ext cx="63123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antander Text" panose="020B0504020201020104" pitchFamily="34" charset="0"/>
                    <a:ea typeface="+mn-ea"/>
                    <a:cs typeface="Calibri" panose="020F0502020204030204" pitchFamily="34" charset="0"/>
                  </a:rPr>
                  <a:t>Delay . High risk</a:t>
                </a:r>
              </a:p>
            </p:txBody>
          </p:sp>
          <p:sp>
            <p:nvSpPr>
              <p:cNvPr id="171" name="TextBox 9">
                <a:extLst>
                  <a:ext uri="{FF2B5EF4-FFF2-40B4-BE49-F238E27FC236}">
                    <a16:creationId xmlns:a16="http://schemas.microsoft.com/office/drawing/2014/main" id="{790DF3E6-3D11-408A-93D3-F225925C5F33}"/>
                  </a:ext>
                </a:extLst>
              </p:cNvPr>
              <p:cNvSpPr txBox="1"/>
              <p:nvPr/>
            </p:nvSpPr>
            <p:spPr>
              <a:xfrm>
                <a:off x="3897709" y="6360853"/>
                <a:ext cx="598102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s-E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antander Text" panose="020B0504020201020104" pitchFamily="34" charset="0"/>
                    <a:ea typeface="+mn-ea"/>
                    <a:cs typeface="Calibri" panose="020F0502020204030204" pitchFamily="34" charset="0"/>
                  </a:rPr>
                  <a:t>Not started</a:t>
                </a:r>
              </a:p>
            </p:txBody>
          </p:sp>
        </p:grpSp>
        <p:sp>
          <p:nvSpPr>
            <p:cNvPr id="151" name="Oval 239">
              <a:extLst>
                <a:ext uri="{FF2B5EF4-FFF2-40B4-BE49-F238E27FC236}">
                  <a16:creationId xmlns:a16="http://schemas.microsoft.com/office/drawing/2014/main" id="{CFBBA7AE-073E-4FB8-B7B3-D5FE72FC7F1D}"/>
                </a:ext>
              </a:extLst>
            </p:cNvPr>
            <p:cNvSpPr/>
            <p:nvPr/>
          </p:nvSpPr>
          <p:spPr>
            <a:xfrm>
              <a:off x="7062189" y="6434034"/>
              <a:ext cx="186808" cy="186808"/>
            </a:xfrm>
            <a:prstGeom prst="ellipse">
              <a:avLst/>
            </a:prstGeom>
            <a:solidFill>
              <a:srgbClr val="EB00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s-E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7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</a:t>
              </a:r>
            </a:p>
          </p:txBody>
        </p:sp>
        <p:sp>
          <p:nvSpPr>
            <p:cNvPr id="155" name="Oval 240">
              <a:extLst>
                <a:ext uri="{FF2B5EF4-FFF2-40B4-BE49-F238E27FC236}">
                  <a16:creationId xmlns:a16="http://schemas.microsoft.com/office/drawing/2014/main" id="{650B1311-244D-45E0-8B53-FD9287D1A3B6}"/>
                </a:ext>
              </a:extLst>
            </p:cNvPr>
            <p:cNvSpPr/>
            <p:nvPr/>
          </p:nvSpPr>
          <p:spPr>
            <a:xfrm>
              <a:off x="7669331" y="6434034"/>
              <a:ext cx="186808" cy="186808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s-E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7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157" name="Oval 241">
              <a:extLst>
                <a:ext uri="{FF2B5EF4-FFF2-40B4-BE49-F238E27FC236}">
                  <a16:creationId xmlns:a16="http://schemas.microsoft.com/office/drawing/2014/main" id="{AC58882F-9E5A-4E6D-B36F-9DBBED10B654}"/>
                </a:ext>
              </a:extLst>
            </p:cNvPr>
            <p:cNvSpPr/>
            <p:nvPr/>
          </p:nvSpPr>
          <p:spPr>
            <a:xfrm>
              <a:off x="8170531" y="6434034"/>
              <a:ext cx="186808" cy="186808"/>
            </a:xfrm>
            <a:prstGeom prst="ellipse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s-E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7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</a:t>
              </a:r>
            </a:p>
          </p:txBody>
        </p:sp>
        <p:sp>
          <p:nvSpPr>
            <p:cNvPr id="165" name="Oval 242">
              <a:extLst>
                <a:ext uri="{FF2B5EF4-FFF2-40B4-BE49-F238E27FC236}">
                  <a16:creationId xmlns:a16="http://schemas.microsoft.com/office/drawing/2014/main" id="{24F4EB1F-F0FA-4695-BCDB-33BE50CBEAF7}"/>
                </a:ext>
              </a:extLst>
            </p:cNvPr>
            <p:cNvSpPr/>
            <p:nvPr/>
          </p:nvSpPr>
          <p:spPr>
            <a:xfrm>
              <a:off x="8902745" y="6434034"/>
              <a:ext cx="186808" cy="186808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s-E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7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166" name="Oval 243">
              <a:extLst>
                <a:ext uri="{FF2B5EF4-FFF2-40B4-BE49-F238E27FC236}">
                  <a16:creationId xmlns:a16="http://schemas.microsoft.com/office/drawing/2014/main" id="{0A3622EF-E56B-43AF-91FE-6F767BB26D2B}"/>
                </a:ext>
              </a:extLst>
            </p:cNvPr>
            <p:cNvSpPr/>
            <p:nvPr/>
          </p:nvSpPr>
          <p:spPr>
            <a:xfrm>
              <a:off x="10265948" y="6434034"/>
              <a:ext cx="186808" cy="186808"/>
            </a:xfrm>
            <a:prstGeom prst="ellipse">
              <a:avLst/>
            </a:prstGeom>
            <a:solidFill>
              <a:srgbClr val="7F7F7F"/>
            </a:solidFill>
            <a:ln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s-E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7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S</a:t>
              </a:r>
            </a:p>
          </p:txBody>
        </p:sp>
      </p:grpSp>
      <p:sp>
        <p:nvSpPr>
          <p:cNvPr id="173" name="TextBox 5">
            <a:extLst>
              <a:ext uri="{FF2B5EF4-FFF2-40B4-BE49-F238E27FC236}">
                <a16:creationId xmlns:a16="http://schemas.microsoft.com/office/drawing/2014/main" id="{5151D51A-8107-4DEC-A66A-3D6EF84F7EC8}"/>
              </a:ext>
            </a:extLst>
          </p:cNvPr>
          <p:cNvSpPr txBox="1"/>
          <p:nvPr/>
        </p:nvSpPr>
        <p:spPr>
          <a:xfrm>
            <a:off x="4495941" y="5977803"/>
            <a:ext cx="1528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 panose="020B0504020201020104" pitchFamily="34" charset="0"/>
                <a:ea typeface="+mn-ea"/>
                <a:cs typeface="Calibri" panose="020F0502020204030204" pitchFamily="34" charset="0"/>
              </a:rPr>
              <a:t>UAT</a:t>
            </a:r>
          </a:p>
        </p:txBody>
      </p:sp>
      <p:sp>
        <p:nvSpPr>
          <p:cNvPr id="174" name="TextBox 6">
            <a:extLst>
              <a:ext uri="{FF2B5EF4-FFF2-40B4-BE49-F238E27FC236}">
                <a16:creationId xmlns:a16="http://schemas.microsoft.com/office/drawing/2014/main" id="{09BAB9FE-BBBB-49D9-9945-15A5BA1F6B89}"/>
              </a:ext>
            </a:extLst>
          </p:cNvPr>
          <p:cNvSpPr txBox="1"/>
          <p:nvPr/>
        </p:nvSpPr>
        <p:spPr>
          <a:xfrm>
            <a:off x="3043933" y="5977803"/>
            <a:ext cx="1950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 panose="020B0504020201020104" pitchFamily="34" charset="0"/>
                <a:ea typeface="+mn-ea"/>
                <a:cs typeface="Calibri" panose="020F0502020204030204" pitchFamily="34" charset="0"/>
              </a:rPr>
              <a:t>IT Implementation</a:t>
            </a:r>
          </a:p>
        </p:txBody>
      </p:sp>
      <p:sp>
        <p:nvSpPr>
          <p:cNvPr id="175" name="TextBox 7">
            <a:extLst>
              <a:ext uri="{FF2B5EF4-FFF2-40B4-BE49-F238E27FC236}">
                <a16:creationId xmlns:a16="http://schemas.microsoft.com/office/drawing/2014/main" id="{B902C6EF-E9F6-4532-9CAD-44F1D7F74EA7}"/>
              </a:ext>
            </a:extLst>
          </p:cNvPr>
          <p:cNvSpPr txBox="1"/>
          <p:nvPr/>
        </p:nvSpPr>
        <p:spPr>
          <a:xfrm>
            <a:off x="1944218" y="5977803"/>
            <a:ext cx="12644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 panose="020B0504020201020104" pitchFamily="34" charset="0"/>
                <a:ea typeface="+mn-ea"/>
                <a:cs typeface="Calibri" panose="020F0502020204030204" pitchFamily="34" charset="0"/>
              </a:rPr>
              <a:t>Assessment</a:t>
            </a:r>
          </a:p>
        </p:txBody>
      </p:sp>
      <p:sp>
        <p:nvSpPr>
          <p:cNvPr id="176" name="TextBox 8">
            <a:extLst>
              <a:ext uri="{FF2B5EF4-FFF2-40B4-BE49-F238E27FC236}">
                <a16:creationId xmlns:a16="http://schemas.microsoft.com/office/drawing/2014/main" id="{28357C15-AEC1-4C62-AA1D-BCC96B6AC40D}"/>
              </a:ext>
            </a:extLst>
          </p:cNvPr>
          <p:cNvSpPr txBox="1"/>
          <p:nvPr/>
        </p:nvSpPr>
        <p:spPr>
          <a:xfrm>
            <a:off x="622520" y="5977803"/>
            <a:ext cx="12301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 panose="020B0504020201020104" pitchFamily="34" charset="0"/>
                <a:ea typeface="+mn-ea"/>
                <a:cs typeface="Calibri" panose="020F0502020204030204" pitchFamily="34" charset="0"/>
              </a:rPr>
              <a:t>Definition</a:t>
            </a:r>
          </a:p>
        </p:txBody>
      </p:sp>
      <p:sp>
        <p:nvSpPr>
          <p:cNvPr id="177" name="TextBox 9">
            <a:extLst>
              <a:ext uri="{FF2B5EF4-FFF2-40B4-BE49-F238E27FC236}">
                <a16:creationId xmlns:a16="http://schemas.microsoft.com/office/drawing/2014/main" id="{A681D9E1-BE2C-47EB-A08A-7F7F33A3011C}"/>
              </a:ext>
            </a:extLst>
          </p:cNvPr>
          <p:cNvSpPr txBox="1"/>
          <p:nvPr/>
        </p:nvSpPr>
        <p:spPr>
          <a:xfrm>
            <a:off x="5834246" y="5977803"/>
            <a:ext cx="1528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 panose="020B0504020201020104" pitchFamily="34" charset="0"/>
                <a:ea typeface="+mn-ea"/>
                <a:cs typeface="Calibri" panose="020F0502020204030204" pitchFamily="34" charset="0"/>
              </a:rPr>
              <a:t>Validation</a:t>
            </a:r>
          </a:p>
        </p:txBody>
      </p:sp>
      <p:sp>
        <p:nvSpPr>
          <p:cNvPr id="178" name="Rectangle 102">
            <a:extLst>
              <a:ext uri="{FF2B5EF4-FFF2-40B4-BE49-F238E27FC236}">
                <a16:creationId xmlns:a16="http://schemas.microsoft.com/office/drawing/2014/main" id="{009C5EDB-DDC0-40E7-B369-4A57BCDBC215}"/>
              </a:ext>
            </a:extLst>
          </p:cNvPr>
          <p:cNvSpPr/>
          <p:nvPr/>
        </p:nvSpPr>
        <p:spPr>
          <a:xfrm>
            <a:off x="2311924" y="6502026"/>
            <a:ext cx="863973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TE</a:t>
            </a:r>
            <a:r>
              <a:rPr kumimoji="0" lang="en-US" sz="11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: this flow explains the different processes involved</a:t>
            </a:r>
            <a:endParaRPr kumimoji="0" lang="es-E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9" name="Rectangle 6">
            <a:extLst>
              <a:ext uri="{FF2B5EF4-FFF2-40B4-BE49-F238E27FC236}">
                <a16:creationId xmlns:a16="http://schemas.microsoft.com/office/drawing/2014/main" id="{14A3B9A6-D84C-4841-8153-DBA8C58FE154}"/>
              </a:ext>
            </a:extLst>
          </p:cNvPr>
          <p:cNvSpPr/>
          <p:nvPr/>
        </p:nvSpPr>
        <p:spPr>
          <a:xfrm>
            <a:off x="2457619" y="5747006"/>
            <a:ext cx="191686" cy="19093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0" name="Isosceles Triangle 249">
            <a:extLst>
              <a:ext uri="{FF2B5EF4-FFF2-40B4-BE49-F238E27FC236}">
                <a16:creationId xmlns:a16="http://schemas.microsoft.com/office/drawing/2014/main" id="{85DAC4E2-2F6D-4A82-9676-B628EAA8288C}"/>
              </a:ext>
            </a:extLst>
          </p:cNvPr>
          <p:cNvSpPr/>
          <p:nvPr/>
        </p:nvSpPr>
        <p:spPr>
          <a:xfrm>
            <a:off x="1105297" y="5736197"/>
            <a:ext cx="261389" cy="212553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181" name="Hexagon 252">
            <a:extLst>
              <a:ext uri="{FF2B5EF4-FFF2-40B4-BE49-F238E27FC236}">
                <a16:creationId xmlns:a16="http://schemas.microsoft.com/office/drawing/2014/main" id="{DAE58B34-C3A1-4C11-AFBF-B3583CFFC3EF}"/>
              </a:ext>
            </a:extLst>
          </p:cNvPr>
          <p:cNvSpPr/>
          <p:nvPr/>
        </p:nvSpPr>
        <p:spPr>
          <a:xfrm>
            <a:off x="5123869" y="5720961"/>
            <a:ext cx="261389" cy="243024"/>
          </a:xfrm>
          <a:prstGeom prst="hexagon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182" name="Rectángulo 89">
            <a:extLst>
              <a:ext uri="{FF2B5EF4-FFF2-40B4-BE49-F238E27FC236}">
                <a16:creationId xmlns:a16="http://schemas.microsoft.com/office/drawing/2014/main" id="{FAFE303E-72C8-4744-B482-515DEC3020D8}"/>
              </a:ext>
            </a:extLst>
          </p:cNvPr>
          <p:cNvSpPr/>
          <p:nvPr/>
        </p:nvSpPr>
        <p:spPr>
          <a:xfrm>
            <a:off x="332720" y="5593724"/>
            <a:ext cx="7430768" cy="803704"/>
          </a:xfrm>
          <a:prstGeom prst="rect">
            <a:avLst/>
          </a:prstGeom>
          <a:noFill/>
          <a:ln w="28575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3" name="Pentágono regular 104">
            <a:extLst>
              <a:ext uri="{FF2B5EF4-FFF2-40B4-BE49-F238E27FC236}">
                <a16:creationId xmlns:a16="http://schemas.microsoft.com/office/drawing/2014/main" id="{91F5D569-BB8A-4EBF-8C44-28B584E6AA9E}"/>
              </a:ext>
            </a:extLst>
          </p:cNvPr>
          <p:cNvSpPr/>
          <p:nvPr/>
        </p:nvSpPr>
        <p:spPr>
          <a:xfrm>
            <a:off x="3834243" y="5719029"/>
            <a:ext cx="292698" cy="246888"/>
          </a:xfrm>
          <a:prstGeom prst="pentagon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4" name="Oval 251">
            <a:extLst>
              <a:ext uri="{FF2B5EF4-FFF2-40B4-BE49-F238E27FC236}">
                <a16:creationId xmlns:a16="http://schemas.microsoft.com/office/drawing/2014/main" id="{2EB5380C-6BCF-4AC2-B4D1-21F2F3337D89}"/>
              </a:ext>
            </a:extLst>
          </p:cNvPr>
          <p:cNvSpPr>
            <a:spLocks noChangeAspect="1"/>
          </p:cNvSpPr>
          <p:nvPr/>
        </p:nvSpPr>
        <p:spPr>
          <a:xfrm>
            <a:off x="6476191" y="5725111"/>
            <a:ext cx="234724" cy="2347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185" name="Rectangle 25">
            <a:extLst>
              <a:ext uri="{FF2B5EF4-FFF2-40B4-BE49-F238E27FC236}">
                <a16:creationId xmlns:a16="http://schemas.microsoft.com/office/drawing/2014/main" id="{63BFC623-3847-4DAA-9269-90F8C0702674}"/>
              </a:ext>
            </a:extLst>
          </p:cNvPr>
          <p:cNvSpPr/>
          <p:nvPr/>
        </p:nvSpPr>
        <p:spPr>
          <a:xfrm>
            <a:off x="10886341" y="5615861"/>
            <a:ext cx="1235853" cy="313352"/>
          </a:xfrm>
          <a:prstGeom prst="rect">
            <a:avLst/>
          </a:prstGeom>
          <a:noFill/>
          <a:ln w="317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 fontAlgn="base">
              <a:defRPr/>
            </a:pPr>
            <a:r>
              <a:rPr lang="en-US" sz="1100" i="1">
                <a:solidFill>
                  <a:schemeClr val="tx1"/>
                </a:solidFill>
                <a:latin typeface="Santander Text" panose="020B05040202010201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oritized</a:t>
            </a:r>
          </a:p>
        </p:txBody>
      </p:sp>
      <p:sp>
        <p:nvSpPr>
          <p:cNvPr id="186" name="Rectángulo 120">
            <a:extLst>
              <a:ext uri="{FF2B5EF4-FFF2-40B4-BE49-F238E27FC236}">
                <a16:creationId xmlns:a16="http://schemas.microsoft.com/office/drawing/2014/main" id="{30888C67-5754-4196-85DE-147FCF499C8F}"/>
              </a:ext>
            </a:extLst>
          </p:cNvPr>
          <p:cNvSpPr/>
          <p:nvPr/>
        </p:nvSpPr>
        <p:spPr>
          <a:xfrm>
            <a:off x="10358999" y="5673717"/>
            <a:ext cx="527342" cy="197640"/>
          </a:xfrm>
          <a:prstGeom prst="rect">
            <a:avLst/>
          </a:prstGeom>
          <a:pattFill prst="wdUp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120" name="Tabla 139">
            <a:extLst>
              <a:ext uri="{FF2B5EF4-FFF2-40B4-BE49-F238E27FC236}">
                <a16:creationId xmlns:a16="http://schemas.microsoft.com/office/drawing/2014/main" id="{DB18ADC2-26CD-42CE-AD6D-C40BAA811E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352538"/>
              </p:ext>
            </p:extLst>
          </p:nvPr>
        </p:nvGraphicFramePr>
        <p:xfrm>
          <a:off x="383640" y="660587"/>
          <a:ext cx="11681359" cy="468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42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0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491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491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4911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4911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4911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4911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4911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4911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4911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4911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1990973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88000">
                <a:tc rowSpan="2">
                  <a:txBody>
                    <a:bodyPr/>
                    <a:lstStyle/>
                    <a:p>
                      <a:r>
                        <a:rPr lang="en-US" sz="1200" noProof="0">
                          <a:solidFill>
                            <a:schemeClr val="bg1"/>
                          </a:solidFill>
                          <a:latin typeface="Santander Text"/>
                        </a:rPr>
                        <a:t>Countr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en-US" sz="1200" noProof="0">
                          <a:solidFill>
                            <a:schemeClr val="bg1"/>
                          </a:solidFill>
                          <a:latin typeface="Santander Text"/>
                        </a:rPr>
                        <a:t>Calculators</a:t>
                      </a:r>
                    </a:p>
                  </a:txBody>
                  <a:tcPr marL="18000" marR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noProof="0">
                        <a:solidFill>
                          <a:schemeClr val="bg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marL="18000" marR="18000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noProof="0">
                        <a:solidFill>
                          <a:schemeClr val="bg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marL="18000" marR="18000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noProof="0">
                        <a:solidFill>
                          <a:schemeClr val="bg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marL="18000" marR="18000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noProof="0">
                        <a:solidFill>
                          <a:schemeClr val="bg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marL="18000" marR="18000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noProof="0">
                        <a:solidFill>
                          <a:schemeClr val="bg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marL="18000" marR="18000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noProof="0">
                        <a:solidFill>
                          <a:schemeClr val="bg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marL="18000" marR="18000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noProof="0">
                        <a:solidFill>
                          <a:schemeClr val="bg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marL="18000" marR="18000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noProof="0">
                        <a:solidFill>
                          <a:schemeClr val="bg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marL="18000" marR="18000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noProof="0">
                        <a:solidFill>
                          <a:schemeClr val="bg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marL="18000" marR="18000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noProof="0">
                        <a:solidFill>
                          <a:schemeClr val="bg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marL="18000" marR="18000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noProof="0">
                        <a:solidFill>
                          <a:schemeClr val="bg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marL="18000" marR="18000" anchor="ctr">
                    <a:solidFill>
                      <a:srgbClr val="C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noProof="0" err="1">
                          <a:solidFill>
                            <a:schemeClr val="bg1"/>
                          </a:solidFill>
                          <a:latin typeface="Santander Text" panose="020B0504020201020104" pitchFamily="34" charset="0"/>
                        </a:rPr>
                        <a:t>Comments.Risks</a:t>
                      </a:r>
                      <a:endParaRPr lang="en-US" sz="1200" noProof="0">
                        <a:solidFill>
                          <a:schemeClr val="bg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00">
                <a:tc vMerge="1">
                  <a:txBody>
                    <a:bodyPr/>
                    <a:lstStyle/>
                    <a:p>
                      <a:endParaRPr lang="en-US" sz="1200" noProof="0">
                        <a:solidFill>
                          <a:schemeClr val="bg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>
                          <a:solidFill>
                            <a:schemeClr val="bg1"/>
                          </a:solidFill>
                          <a:latin typeface="Santander Text"/>
                        </a:rPr>
                        <a:t>Dividend &amp; Repo</a:t>
                      </a:r>
                    </a:p>
                  </a:txBody>
                  <a:tcPr marL="18000" marR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>
                          <a:solidFill>
                            <a:schemeClr val="bg1"/>
                          </a:solidFill>
                          <a:latin typeface="Santander Text"/>
                        </a:rPr>
                        <a:t>Delta IR &amp; XCCY </a:t>
                      </a:r>
                      <a:endParaRPr lang="en-US" sz="900" b="1" noProof="0">
                        <a:solidFill>
                          <a:schemeClr val="bg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marL="18000" marR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>
                          <a:solidFill>
                            <a:schemeClr val="bg1"/>
                          </a:solidFill>
                          <a:latin typeface="Santander Text"/>
                        </a:rPr>
                        <a:t>Fixed Income</a:t>
                      </a:r>
                    </a:p>
                  </a:txBody>
                  <a:tcPr marL="18000" marR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>
                          <a:solidFill>
                            <a:schemeClr val="bg1"/>
                          </a:solidFill>
                          <a:latin typeface="Santander Text"/>
                        </a:rPr>
                        <a:t>Concentration</a:t>
                      </a:r>
                    </a:p>
                  </a:txBody>
                  <a:tcPr marL="18000" marR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>
                          <a:solidFill>
                            <a:schemeClr val="bg1"/>
                          </a:solidFill>
                          <a:latin typeface="Santander Text"/>
                        </a:rPr>
                        <a:t>IR Vega</a:t>
                      </a:r>
                    </a:p>
                  </a:txBody>
                  <a:tcPr marL="18000" marR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>
                          <a:solidFill>
                            <a:schemeClr val="bg1"/>
                          </a:solidFill>
                          <a:latin typeface="Santander Text"/>
                        </a:rPr>
                        <a:t>EQ Vega</a:t>
                      </a:r>
                    </a:p>
                  </a:txBody>
                  <a:tcPr marL="18000" marR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>
                          <a:solidFill>
                            <a:schemeClr val="bg1"/>
                          </a:solidFill>
                          <a:latin typeface="Santander Text"/>
                        </a:rPr>
                        <a:t>Correlation</a:t>
                      </a:r>
                    </a:p>
                  </a:txBody>
                  <a:tcPr marL="18000" marR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>
                          <a:solidFill>
                            <a:schemeClr val="bg1"/>
                          </a:solidFill>
                          <a:latin typeface="Santander Text"/>
                        </a:rPr>
                        <a:t>FX Vega</a:t>
                      </a:r>
                    </a:p>
                  </a:txBody>
                  <a:tcPr marL="18000" marR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>
                          <a:solidFill>
                            <a:schemeClr val="bg1"/>
                          </a:solidFill>
                          <a:latin typeface="Santander Text"/>
                        </a:rPr>
                        <a:t>CR Delta</a:t>
                      </a:r>
                      <a:r>
                        <a:rPr lang="en-US" sz="900" b="1" baseline="0" noProof="0">
                          <a:solidFill>
                            <a:schemeClr val="bg1"/>
                          </a:solidFill>
                          <a:latin typeface="Santander Text"/>
                        </a:rPr>
                        <a:t> &amp; Concentration</a:t>
                      </a:r>
                      <a:endParaRPr lang="en-US" sz="900" b="1" noProof="0">
                        <a:solidFill>
                          <a:schemeClr val="bg1"/>
                        </a:solidFill>
                        <a:latin typeface="Santander Text"/>
                      </a:endParaRPr>
                    </a:p>
                  </a:txBody>
                  <a:tcPr marL="18000" marR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>
                          <a:solidFill>
                            <a:schemeClr val="bg1"/>
                          </a:solidFill>
                          <a:latin typeface="Santander Text"/>
                        </a:rPr>
                        <a:t>Inflation Delta</a:t>
                      </a:r>
                    </a:p>
                  </a:txBody>
                  <a:tcPr marL="18000" marR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>
                          <a:solidFill>
                            <a:schemeClr val="bg1"/>
                          </a:solidFill>
                          <a:latin typeface="Santander Text"/>
                        </a:rPr>
                        <a:t>Inflation Vega</a:t>
                      </a:r>
                    </a:p>
                  </a:txBody>
                  <a:tcPr marL="18000" marR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noProof="0">
                          <a:solidFill>
                            <a:schemeClr val="bg1"/>
                          </a:solidFill>
                          <a:latin typeface="Santander Text"/>
                        </a:rPr>
                        <a:t>Generic </a:t>
                      </a:r>
                      <a:r>
                        <a:rPr lang="en-US" sz="900" b="1" noProof="0" err="1">
                          <a:solidFill>
                            <a:schemeClr val="bg1"/>
                          </a:solidFill>
                          <a:latin typeface="Santander Text"/>
                        </a:rPr>
                        <a:t>MoRi</a:t>
                      </a:r>
                    </a:p>
                  </a:txBody>
                  <a:tcPr marL="18000" marR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noProof="0">
                        <a:solidFill>
                          <a:schemeClr val="bg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lvl="0" algn="l"/>
                      <a:r>
                        <a:rPr lang="en-US" sz="1100" b="1" noProof="0">
                          <a:latin typeface="Santander Text"/>
                        </a:rPr>
                        <a:t>SPAIN</a:t>
                      </a:r>
                    </a:p>
                  </a:txBody>
                  <a:tcPr marL="108000" marR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chemeClr val="tx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noProof="0">
                        <a:solidFill>
                          <a:schemeClr val="tx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kern="1200" noProof="0">
                        <a:solidFill>
                          <a:schemeClr val="tx1"/>
                        </a:solidFill>
                        <a:latin typeface="Santander Text" panose="020B05040202010201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kern="1200" noProof="0">
                        <a:solidFill>
                          <a:schemeClr val="tx1"/>
                        </a:solidFill>
                        <a:latin typeface="Santander Text" panose="020B05040202010201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kern="1200" noProof="0">
                        <a:solidFill>
                          <a:schemeClr val="tx1"/>
                        </a:solidFill>
                        <a:latin typeface="Santander Text" panose="020B05040202010201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kern="1200" noProof="0">
                        <a:solidFill>
                          <a:schemeClr val="tx1"/>
                        </a:solidFill>
                        <a:latin typeface="Santander Text" panose="020B05040202010201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rgbClr val="92D050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rgbClr val="92D050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rgbClr val="92D050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kern="0" noProof="0">
                        <a:solidFill>
                          <a:srgbClr val="FFC00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rgbClr val="FFC000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3510" indent="-107950">
                        <a:buFont typeface="+mj-lt"/>
                        <a:buAutoNum type="arabicPeriod"/>
                      </a:pPr>
                      <a:r>
                        <a:rPr lang="en-US" sz="900" noProof="0">
                          <a:latin typeface="Santander Text"/>
                        </a:rPr>
                        <a:t>Transverse to all units</a:t>
                      </a:r>
                    </a:p>
                    <a:p>
                      <a:pPr marL="143510" indent="-107950">
                        <a:buFont typeface="+mj-lt"/>
                        <a:buAutoNum type="arabicPeriod"/>
                      </a:pPr>
                      <a:r>
                        <a:rPr lang="en-US" sz="900" noProof="0">
                          <a:latin typeface="Santander Text"/>
                        </a:rPr>
                        <a:t>In production with temporal </a:t>
                      </a:r>
                      <a:r>
                        <a:rPr lang="en-US" sz="900" noProof="0" err="1">
                          <a:latin typeface="Santander Text"/>
                        </a:rPr>
                        <a:t>aproval</a:t>
                      </a:r>
                      <a:endParaRPr lang="en-US" sz="900" noProof="0">
                        <a:latin typeface="Santander Text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lvl="0" algn="l"/>
                      <a:r>
                        <a:rPr lang="en-US" sz="1100" b="1" noProof="0">
                          <a:solidFill>
                            <a:schemeClr val="tx1"/>
                          </a:solidFill>
                          <a:latin typeface="Santander Text"/>
                        </a:rPr>
                        <a:t>SLB</a:t>
                      </a:r>
                    </a:p>
                  </a:txBody>
                  <a:tcPr marL="108000" marR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rgbClr val="92D050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chemeClr val="tx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noProof="0">
                        <a:solidFill>
                          <a:schemeClr val="dk1"/>
                        </a:solidFill>
                        <a:latin typeface="Santander Text" panose="020B05040202010201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noProof="0">
                        <a:solidFill>
                          <a:schemeClr val="dk1"/>
                        </a:solidFill>
                        <a:latin typeface="Santander Text" panose="020B05040202010201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chemeClr val="bg1">
                            <a:lumMod val="75000"/>
                          </a:schemeClr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5560" indent="0">
                        <a:buFont typeface="+mj-lt"/>
                        <a:buNone/>
                      </a:pPr>
                      <a:r>
                        <a:rPr lang="en-US" sz="900" noProof="0">
                          <a:latin typeface="Santander Text"/>
                        </a:rPr>
                        <a:t>2.New inclusion in plan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lvl="0" algn="l"/>
                      <a:r>
                        <a:rPr lang="en-US" sz="1100" b="1" noProof="0">
                          <a:solidFill>
                            <a:schemeClr val="tx1"/>
                          </a:solidFill>
                          <a:latin typeface="Santander Text"/>
                        </a:rPr>
                        <a:t>PORTUGAL</a:t>
                      </a:r>
                    </a:p>
                  </a:txBody>
                  <a:tcPr marL="108000" marR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chemeClr val="tx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chemeClr val="bg1">
                            <a:lumMod val="75000"/>
                          </a:schemeClr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chemeClr val="bg1">
                            <a:lumMod val="75000"/>
                          </a:schemeClr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noProof="0">
                        <a:latin typeface="Santander Text" panose="020B0504020201020104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lvl="0" algn="l"/>
                      <a:r>
                        <a:rPr lang="en-US" sz="1100" b="1" noProof="0">
                          <a:solidFill>
                            <a:schemeClr val="tx1"/>
                          </a:solidFill>
                          <a:latin typeface="Santander Text"/>
                        </a:rPr>
                        <a:t>BRAZIL</a:t>
                      </a:r>
                    </a:p>
                  </a:txBody>
                  <a:tcPr marL="108000" marR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chemeClr val="accent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chemeClr val="accent1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rgbClr val="FF0000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noProof="0">
                        <a:solidFill>
                          <a:schemeClr val="dk1"/>
                        </a:solidFill>
                        <a:latin typeface="Santander Text" panose="020B05040202010201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3510" indent="-107950">
                        <a:buFont typeface="+mj-lt"/>
                        <a:buAutoNum type="arabicPeriod"/>
                      </a:pPr>
                      <a:r>
                        <a:rPr lang="en-US" sz="900" noProof="0">
                          <a:latin typeface="Santander Text"/>
                        </a:rPr>
                        <a:t>New</a:t>
                      </a:r>
                      <a:r>
                        <a:rPr lang="en-US" sz="900" baseline="0" noProof="0">
                          <a:latin typeface="Santander Text"/>
                        </a:rPr>
                        <a:t> delivery to IVT</a:t>
                      </a:r>
                      <a:endParaRPr lang="en-US" sz="900" noProof="0">
                        <a:latin typeface="Santander Text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lvl="0" algn="l"/>
                      <a:r>
                        <a:rPr lang="en-US" sz="1100" b="1" noProof="0">
                          <a:solidFill>
                            <a:schemeClr val="tx1"/>
                          </a:solidFill>
                          <a:latin typeface="Santander Text"/>
                        </a:rPr>
                        <a:t>MEXICO</a:t>
                      </a:r>
                    </a:p>
                  </a:txBody>
                  <a:tcPr marL="108000" marR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rgbClr val="FFC000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rgbClr val="FFC000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rgbClr val="92D050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chemeClr val="bg1">
                            <a:lumMod val="75000"/>
                          </a:schemeClr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3510" indent="-107950">
                        <a:buClr>
                          <a:srgbClr val="000000"/>
                        </a:buClr>
                        <a:buFont typeface="+mj-lt"/>
                        <a:buAutoNum type="arabicPeriod"/>
                      </a:pPr>
                      <a:r>
                        <a:rPr lang="en-US" sz="900" b="0" i="0" u="none" strike="noStrike" noProof="0"/>
                        <a:t>Plan under review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lvl="0" algn="l"/>
                      <a:r>
                        <a:rPr lang="en-US" sz="1100" b="1" noProof="0">
                          <a:solidFill>
                            <a:schemeClr val="tx1"/>
                          </a:solidFill>
                          <a:latin typeface="Santander Text"/>
                        </a:rPr>
                        <a:t>CHILE</a:t>
                      </a:r>
                    </a:p>
                  </a:txBody>
                  <a:tcPr marL="108000" marR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rgbClr val="FFC000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rgbClr val="92D050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rgbClr val="92D050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chemeClr val="bg1">
                            <a:lumMod val="75000"/>
                          </a:schemeClr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>
                        <a:buFont typeface="+mj-lt"/>
                        <a:buNone/>
                      </a:pPr>
                      <a:endParaRPr lang="en-US" sz="900" noProof="0">
                        <a:latin typeface="Santander Text" panose="020B0504020201020104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lvl="0" algn="l"/>
                      <a:r>
                        <a:rPr lang="en-US" sz="1100" b="1" noProof="0">
                          <a:solidFill>
                            <a:schemeClr val="tx1"/>
                          </a:solidFill>
                          <a:latin typeface="Santander Text"/>
                        </a:rPr>
                        <a:t>NYB</a:t>
                      </a:r>
                    </a:p>
                  </a:txBody>
                  <a:tcPr marL="108000" marR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chemeClr val="bg1">
                            <a:lumMod val="75000"/>
                          </a:schemeClr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3510" indent="-107950">
                        <a:buFont typeface="+mj-lt"/>
                        <a:buAutoNum type="arabicPeriod"/>
                      </a:pPr>
                      <a:r>
                        <a:rPr lang="en-US" sz="900" noProof="0">
                          <a:latin typeface="Santander Text"/>
                        </a:rPr>
                        <a:t>Plan under review</a:t>
                      </a:r>
                    </a:p>
                    <a:p>
                      <a:pPr marL="143510" indent="-107950">
                        <a:buFont typeface="+mj-lt"/>
                        <a:buAutoNum type="arabicPeriod"/>
                      </a:pPr>
                      <a:r>
                        <a:rPr lang="en-US" sz="900" noProof="0">
                          <a:latin typeface="Santander Text"/>
                        </a:rPr>
                        <a:t>New inclusion in plan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lvl="0" algn="l"/>
                      <a:r>
                        <a:rPr lang="en-US" sz="1100" b="1" noProof="0">
                          <a:solidFill>
                            <a:schemeClr val="tx1"/>
                          </a:solidFill>
                          <a:latin typeface="Santander Text"/>
                        </a:rPr>
                        <a:t>UK</a:t>
                      </a:r>
                    </a:p>
                  </a:txBody>
                  <a:tcPr marL="108000" marR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rgbClr val="FFC000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chemeClr val="bg1">
                            <a:lumMod val="75000"/>
                          </a:schemeClr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556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</a:pPr>
                      <a:r>
                        <a:rPr lang="en-US" sz="900" noProof="0">
                          <a:latin typeface="Santander Text"/>
                        </a:rPr>
                        <a:t>1. Local idiosyncrasies under review </a:t>
                      </a:r>
                      <a:endParaRPr lang="en-US" sz="900" noProof="0">
                        <a:latin typeface="Santander Text" panose="020B0504020201020104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lvl="0" algn="l"/>
                      <a:r>
                        <a:rPr lang="en-US" sz="1100" b="1" noProof="0">
                          <a:solidFill>
                            <a:schemeClr val="tx1"/>
                          </a:solidFill>
                          <a:latin typeface="Santander Text"/>
                        </a:rPr>
                        <a:t>ALCO SPAIN</a:t>
                      </a:r>
                    </a:p>
                  </a:txBody>
                  <a:tcPr marL="108000" marR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rgbClr val="FFC000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chemeClr val="bg1">
                            <a:lumMod val="75000"/>
                          </a:schemeClr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>
                          <a:lumMod val="20000"/>
                          <a:lumOff val="8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chemeClr val="bg1">
                            <a:lumMod val="75000"/>
                          </a:schemeClr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900" noProof="0">
                        <a:latin typeface="Santander Text" panose="020B0504020201020104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lvl="0" algn="l"/>
                      <a:r>
                        <a:rPr lang="en-US" sz="1100" b="1" noProof="0">
                          <a:solidFill>
                            <a:schemeClr val="tx1"/>
                          </a:solidFill>
                          <a:latin typeface="Santander Text"/>
                        </a:rPr>
                        <a:t>HK.SH</a:t>
                      </a:r>
                    </a:p>
                  </a:txBody>
                  <a:tcPr marL="108000" marR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solidFill>
                          <a:srgbClr val="FFC000"/>
                        </a:solidFill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noProof="0">
                        <a:latin typeface="Santander Text" panose="020B05040202010201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>
                        <a:buFont typeface="+mj-lt"/>
                        <a:buNone/>
                      </a:pPr>
                      <a:endParaRPr lang="en-US" sz="900" noProof="0">
                        <a:latin typeface="Santander Text" panose="020B0504020201020104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21" name="Hexagon 252">
            <a:extLst>
              <a:ext uri="{FF2B5EF4-FFF2-40B4-BE49-F238E27FC236}">
                <a16:creationId xmlns:a16="http://schemas.microsoft.com/office/drawing/2014/main" id="{6485ADE5-742B-4AAE-94B1-5DBCAD182866}"/>
              </a:ext>
            </a:extLst>
          </p:cNvPr>
          <p:cNvSpPr/>
          <p:nvPr/>
        </p:nvSpPr>
        <p:spPr>
          <a:xfrm>
            <a:off x="2105611" y="3832069"/>
            <a:ext cx="261389" cy="243024"/>
          </a:xfrm>
          <a:prstGeom prst="hexag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122" name="Rectangle 6">
            <a:extLst>
              <a:ext uri="{FF2B5EF4-FFF2-40B4-BE49-F238E27FC236}">
                <a16:creationId xmlns:a16="http://schemas.microsoft.com/office/drawing/2014/main" id="{654F7012-333E-4B61-8E46-47AFAC6EEE19}"/>
              </a:ext>
            </a:extLst>
          </p:cNvPr>
          <p:cNvSpPr/>
          <p:nvPr/>
        </p:nvSpPr>
        <p:spPr>
          <a:xfrm>
            <a:off x="6611524" y="3068397"/>
            <a:ext cx="191686" cy="190934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Rectangle 6">
            <a:extLst>
              <a:ext uri="{FF2B5EF4-FFF2-40B4-BE49-F238E27FC236}">
                <a16:creationId xmlns:a16="http://schemas.microsoft.com/office/drawing/2014/main" id="{65F5A523-3BCA-4E3E-BB69-6C97C938D6C7}"/>
              </a:ext>
            </a:extLst>
          </p:cNvPr>
          <p:cNvSpPr/>
          <p:nvPr/>
        </p:nvSpPr>
        <p:spPr>
          <a:xfrm>
            <a:off x="6611524" y="1885485"/>
            <a:ext cx="191686" cy="190934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4" name="Rectangle 6">
            <a:extLst>
              <a:ext uri="{FF2B5EF4-FFF2-40B4-BE49-F238E27FC236}">
                <a16:creationId xmlns:a16="http://schemas.microsoft.com/office/drawing/2014/main" id="{DFE293A1-71D7-4370-B684-3963526C73B1}"/>
              </a:ext>
            </a:extLst>
          </p:cNvPr>
          <p:cNvSpPr/>
          <p:nvPr/>
        </p:nvSpPr>
        <p:spPr>
          <a:xfrm>
            <a:off x="6611520" y="3464317"/>
            <a:ext cx="191686" cy="190934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Rectangle 6">
            <a:extLst>
              <a:ext uri="{FF2B5EF4-FFF2-40B4-BE49-F238E27FC236}">
                <a16:creationId xmlns:a16="http://schemas.microsoft.com/office/drawing/2014/main" id="{B4944046-0E73-479B-9600-D872E8FD3FD2}"/>
              </a:ext>
            </a:extLst>
          </p:cNvPr>
          <p:cNvSpPr/>
          <p:nvPr/>
        </p:nvSpPr>
        <p:spPr>
          <a:xfrm>
            <a:off x="6606410" y="3858114"/>
            <a:ext cx="191686" cy="190934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Rectangle 6">
            <a:extLst>
              <a:ext uri="{FF2B5EF4-FFF2-40B4-BE49-F238E27FC236}">
                <a16:creationId xmlns:a16="http://schemas.microsoft.com/office/drawing/2014/main" id="{ACABE8EE-D256-4733-BF75-07C680C03712}"/>
              </a:ext>
            </a:extLst>
          </p:cNvPr>
          <p:cNvSpPr/>
          <p:nvPr/>
        </p:nvSpPr>
        <p:spPr>
          <a:xfrm>
            <a:off x="3602616" y="3858114"/>
            <a:ext cx="191686" cy="190934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CuadroTexto 161">
            <a:extLst>
              <a:ext uri="{FF2B5EF4-FFF2-40B4-BE49-F238E27FC236}">
                <a16:creationId xmlns:a16="http://schemas.microsoft.com/office/drawing/2014/main" id="{95D1A0D1-94F1-49E3-A7D1-5BC9BC40A120}"/>
              </a:ext>
            </a:extLst>
          </p:cNvPr>
          <p:cNvSpPr txBox="1"/>
          <p:nvPr/>
        </p:nvSpPr>
        <p:spPr>
          <a:xfrm>
            <a:off x="1951727" y="3716200"/>
            <a:ext cx="222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 panose="020B05040202010201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28" name="CuadroTexto 163">
            <a:extLst>
              <a:ext uri="{FF2B5EF4-FFF2-40B4-BE49-F238E27FC236}">
                <a16:creationId xmlns:a16="http://schemas.microsoft.com/office/drawing/2014/main" id="{F731F42B-DAAB-468A-A768-8506AEBF14E4}"/>
              </a:ext>
            </a:extLst>
          </p:cNvPr>
          <p:cNvSpPr txBox="1"/>
          <p:nvPr/>
        </p:nvSpPr>
        <p:spPr>
          <a:xfrm>
            <a:off x="3402392" y="3724746"/>
            <a:ext cx="222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 panose="020B05040202010201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129" name="Isosceles Triangle 249">
            <a:extLst>
              <a:ext uri="{FF2B5EF4-FFF2-40B4-BE49-F238E27FC236}">
                <a16:creationId xmlns:a16="http://schemas.microsoft.com/office/drawing/2014/main" id="{C7E93E5D-23EA-4161-9ACF-C80DC847674A}"/>
              </a:ext>
            </a:extLst>
          </p:cNvPr>
          <p:cNvSpPr/>
          <p:nvPr/>
        </p:nvSpPr>
        <p:spPr>
          <a:xfrm>
            <a:off x="9597205" y="1463852"/>
            <a:ext cx="261389" cy="212553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130" name="Rectangle 6">
            <a:extLst>
              <a:ext uri="{FF2B5EF4-FFF2-40B4-BE49-F238E27FC236}">
                <a16:creationId xmlns:a16="http://schemas.microsoft.com/office/drawing/2014/main" id="{17E8BA02-54B7-43C1-857F-CE081EF434E0}"/>
              </a:ext>
            </a:extLst>
          </p:cNvPr>
          <p:cNvSpPr/>
          <p:nvPr/>
        </p:nvSpPr>
        <p:spPr>
          <a:xfrm>
            <a:off x="8870253" y="2672928"/>
            <a:ext cx="191686" cy="190934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1" name="Rectangle 6">
            <a:extLst>
              <a:ext uri="{FF2B5EF4-FFF2-40B4-BE49-F238E27FC236}">
                <a16:creationId xmlns:a16="http://schemas.microsoft.com/office/drawing/2014/main" id="{F72A3341-B17A-4496-82AA-18506BDFEF5B}"/>
              </a:ext>
            </a:extLst>
          </p:cNvPr>
          <p:cNvSpPr/>
          <p:nvPr/>
        </p:nvSpPr>
        <p:spPr>
          <a:xfrm>
            <a:off x="8870253" y="4276093"/>
            <a:ext cx="191686" cy="190934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2" name="Rectangle 6">
            <a:extLst>
              <a:ext uri="{FF2B5EF4-FFF2-40B4-BE49-F238E27FC236}">
                <a16:creationId xmlns:a16="http://schemas.microsoft.com/office/drawing/2014/main" id="{45DB7F75-8E4D-4DCD-94ED-20DD4C851966}"/>
              </a:ext>
            </a:extLst>
          </p:cNvPr>
          <p:cNvSpPr/>
          <p:nvPr/>
        </p:nvSpPr>
        <p:spPr>
          <a:xfrm>
            <a:off x="8101713" y="4276093"/>
            <a:ext cx="191686" cy="190934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CuadroTexto 176">
            <a:extLst>
              <a:ext uri="{FF2B5EF4-FFF2-40B4-BE49-F238E27FC236}">
                <a16:creationId xmlns:a16="http://schemas.microsoft.com/office/drawing/2014/main" id="{4F01369B-BD09-43CA-BAF8-BBC85C4660FC}"/>
              </a:ext>
            </a:extLst>
          </p:cNvPr>
          <p:cNvSpPr txBox="1"/>
          <p:nvPr/>
        </p:nvSpPr>
        <p:spPr>
          <a:xfrm>
            <a:off x="9456626" y="1389021"/>
            <a:ext cx="222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 panose="020B05040202010201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34" name="Rectangle 6">
            <a:extLst>
              <a:ext uri="{FF2B5EF4-FFF2-40B4-BE49-F238E27FC236}">
                <a16:creationId xmlns:a16="http://schemas.microsoft.com/office/drawing/2014/main" id="{EB1013D5-45F0-4ACE-B457-37BBFD12260A}"/>
              </a:ext>
            </a:extLst>
          </p:cNvPr>
          <p:cNvSpPr/>
          <p:nvPr/>
        </p:nvSpPr>
        <p:spPr>
          <a:xfrm>
            <a:off x="3612772" y="2689074"/>
            <a:ext cx="191686" cy="19093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5" name="Pentágono regular 178">
            <a:extLst>
              <a:ext uri="{FF2B5EF4-FFF2-40B4-BE49-F238E27FC236}">
                <a16:creationId xmlns:a16="http://schemas.microsoft.com/office/drawing/2014/main" id="{2B57DDC0-3585-4F15-AA80-6C66A75384C4}"/>
              </a:ext>
            </a:extLst>
          </p:cNvPr>
          <p:cNvSpPr/>
          <p:nvPr/>
        </p:nvSpPr>
        <p:spPr>
          <a:xfrm>
            <a:off x="4288405" y="1446684"/>
            <a:ext cx="292698" cy="246888"/>
          </a:xfrm>
          <a:prstGeom prst="pent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136" name="Oval 251">
            <a:extLst>
              <a:ext uri="{FF2B5EF4-FFF2-40B4-BE49-F238E27FC236}">
                <a16:creationId xmlns:a16="http://schemas.microsoft.com/office/drawing/2014/main" id="{E5CF2C03-72AD-4A4C-9AC1-83BDC18F6002}"/>
              </a:ext>
            </a:extLst>
          </p:cNvPr>
          <p:cNvSpPr>
            <a:spLocks noChangeAspect="1"/>
          </p:cNvSpPr>
          <p:nvPr/>
        </p:nvSpPr>
        <p:spPr>
          <a:xfrm>
            <a:off x="1456513" y="1452766"/>
            <a:ext cx="234724" cy="234724"/>
          </a:xfrm>
          <a:prstGeom prst="ellipse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138" name="Oval 251">
            <a:extLst>
              <a:ext uri="{FF2B5EF4-FFF2-40B4-BE49-F238E27FC236}">
                <a16:creationId xmlns:a16="http://schemas.microsoft.com/office/drawing/2014/main" id="{FC87DDED-1A2C-47C4-AD99-CE3071A91AC9}"/>
              </a:ext>
            </a:extLst>
          </p:cNvPr>
          <p:cNvSpPr>
            <a:spLocks noChangeAspect="1"/>
          </p:cNvSpPr>
          <p:nvPr/>
        </p:nvSpPr>
        <p:spPr>
          <a:xfrm>
            <a:off x="2118943" y="1841040"/>
            <a:ext cx="234724" cy="2347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137" name="Oval 251">
            <a:extLst>
              <a:ext uri="{FF2B5EF4-FFF2-40B4-BE49-F238E27FC236}">
                <a16:creationId xmlns:a16="http://schemas.microsoft.com/office/drawing/2014/main" id="{3628D50A-6098-49F4-B31A-46013700B900}"/>
              </a:ext>
            </a:extLst>
          </p:cNvPr>
          <p:cNvSpPr>
            <a:spLocks noChangeAspect="1"/>
          </p:cNvSpPr>
          <p:nvPr/>
        </p:nvSpPr>
        <p:spPr>
          <a:xfrm>
            <a:off x="2118943" y="1452766"/>
            <a:ext cx="234724" cy="234724"/>
          </a:xfrm>
          <a:prstGeom prst="ellipse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139" name="Oval 251">
            <a:extLst>
              <a:ext uri="{FF2B5EF4-FFF2-40B4-BE49-F238E27FC236}">
                <a16:creationId xmlns:a16="http://schemas.microsoft.com/office/drawing/2014/main" id="{B7D48388-716B-4EF8-BB3F-EC1615035A22}"/>
              </a:ext>
            </a:extLst>
          </p:cNvPr>
          <p:cNvSpPr>
            <a:spLocks noChangeAspect="1"/>
          </p:cNvSpPr>
          <p:nvPr/>
        </p:nvSpPr>
        <p:spPr>
          <a:xfrm>
            <a:off x="2118943" y="2251159"/>
            <a:ext cx="234724" cy="2347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140" name="Oval 251">
            <a:extLst>
              <a:ext uri="{FF2B5EF4-FFF2-40B4-BE49-F238E27FC236}">
                <a16:creationId xmlns:a16="http://schemas.microsoft.com/office/drawing/2014/main" id="{1765F29E-D7C6-4908-86DA-B1F154054E9D}"/>
              </a:ext>
            </a:extLst>
          </p:cNvPr>
          <p:cNvSpPr>
            <a:spLocks noChangeAspect="1"/>
          </p:cNvSpPr>
          <p:nvPr/>
        </p:nvSpPr>
        <p:spPr>
          <a:xfrm>
            <a:off x="2118943" y="3050731"/>
            <a:ext cx="234724" cy="2347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141" name="Rectangle 6">
            <a:extLst>
              <a:ext uri="{FF2B5EF4-FFF2-40B4-BE49-F238E27FC236}">
                <a16:creationId xmlns:a16="http://schemas.microsoft.com/office/drawing/2014/main" id="{1BD06818-E6B7-4697-B990-5A8CB155220E}"/>
              </a:ext>
            </a:extLst>
          </p:cNvPr>
          <p:cNvSpPr/>
          <p:nvPr/>
        </p:nvSpPr>
        <p:spPr>
          <a:xfrm>
            <a:off x="6611524" y="2672871"/>
            <a:ext cx="191686" cy="190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142" name="Oval 251">
            <a:extLst>
              <a:ext uri="{FF2B5EF4-FFF2-40B4-BE49-F238E27FC236}">
                <a16:creationId xmlns:a16="http://schemas.microsoft.com/office/drawing/2014/main" id="{12BF76E9-BA59-4B71-AF18-4267FD05C65D}"/>
              </a:ext>
            </a:extLst>
          </p:cNvPr>
          <p:cNvSpPr>
            <a:spLocks noChangeAspect="1"/>
          </p:cNvSpPr>
          <p:nvPr/>
        </p:nvSpPr>
        <p:spPr>
          <a:xfrm>
            <a:off x="2118943" y="2677105"/>
            <a:ext cx="234724" cy="23472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146" name="Rectangle 6">
            <a:extLst>
              <a:ext uri="{FF2B5EF4-FFF2-40B4-BE49-F238E27FC236}">
                <a16:creationId xmlns:a16="http://schemas.microsoft.com/office/drawing/2014/main" id="{D2690666-5ADB-42A6-935C-09C3D987FCA8}"/>
              </a:ext>
            </a:extLst>
          </p:cNvPr>
          <p:cNvSpPr/>
          <p:nvPr/>
        </p:nvSpPr>
        <p:spPr>
          <a:xfrm>
            <a:off x="4338911" y="2689074"/>
            <a:ext cx="191686" cy="190934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7" name="Rectangle 6">
            <a:extLst>
              <a:ext uri="{FF2B5EF4-FFF2-40B4-BE49-F238E27FC236}">
                <a16:creationId xmlns:a16="http://schemas.microsoft.com/office/drawing/2014/main" id="{3A86F55E-B470-4A9B-A76D-8226393E6596}"/>
              </a:ext>
            </a:extLst>
          </p:cNvPr>
          <p:cNvSpPr/>
          <p:nvPr/>
        </p:nvSpPr>
        <p:spPr>
          <a:xfrm>
            <a:off x="5106310" y="2689074"/>
            <a:ext cx="191686" cy="190934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8" name="Oval 251">
            <a:extLst>
              <a:ext uri="{FF2B5EF4-FFF2-40B4-BE49-F238E27FC236}">
                <a16:creationId xmlns:a16="http://schemas.microsoft.com/office/drawing/2014/main" id="{A9E0499F-E330-4FEC-9AA7-F8EE0DED1D96}"/>
              </a:ext>
            </a:extLst>
          </p:cNvPr>
          <p:cNvSpPr>
            <a:spLocks noChangeAspect="1"/>
          </p:cNvSpPr>
          <p:nvPr/>
        </p:nvSpPr>
        <p:spPr>
          <a:xfrm>
            <a:off x="2118943" y="4620854"/>
            <a:ext cx="234724" cy="2347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149" name="Oval 251">
            <a:extLst>
              <a:ext uri="{FF2B5EF4-FFF2-40B4-BE49-F238E27FC236}">
                <a16:creationId xmlns:a16="http://schemas.microsoft.com/office/drawing/2014/main" id="{76449D64-B39F-44C2-9DFF-A80A9D694323}"/>
              </a:ext>
            </a:extLst>
          </p:cNvPr>
          <p:cNvSpPr>
            <a:spLocks noChangeAspect="1"/>
          </p:cNvSpPr>
          <p:nvPr/>
        </p:nvSpPr>
        <p:spPr>
          <a:xfrm>
            <a:off x="2118943" y="3429000"/>
            <a:ext cx="234724" cy="2347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  <a:latin typeface="Santander Text" panose="020B0504020201020104" pitchFamily="34" charset="0"/>
            </a:endParaRPr>
          </a:p>
        </p:txBody>
      </p:sp>
      <p:sp>
        <p:nvSpPr>
          <p:cNvPr id="150" name="Oval 251">
            <a:extLst>
              <a:ext uri="{FF2B5EF4-FFF2-40B4-BE49-F238E27FC236}">
                <a16:creationId xmlns:a16="http://schemas.microsoft.com/office/drawing/2014/main" id="{7BE1438E-64E6-49F1-8527-A6950268AAD0}"/>
              </a:ext>
            </a:extLst>
          </p:cNvPr>
          <p:cNvSpPr>
            <a:spLocks noChangeAspect="1"/>
          </p:cNvSpPr>
          <p:nvPr/>
        </p:nvSpPr>
        <p:spPr>
          <a:xfrm>
            <a:off x="2852743" y="4623579"/>
            <a:ext cx="234724" cy="2347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152" name="Oval 251">
            <a:extLst>
              <a:ext uri="{FF2B5EF4-FFF2-40B4-BE49-F238E27FC236}">
                <a16:creationId xmlns:a16="http://schemas.microsoft.com/office/drawing/2014/main" id="{2FE2A5EF-FD8A-4051-9C91-02B301CB77B8}"/>
              </a:ext>
            </a:extLst>
          </p:cNvPr>
          <p:cNvSpPr>
            <a:spLocks noChangeAspect="1"/>
          </p:cNvSpPr>
          <p:nvPr/>
        </p:nvSpPr>
        <p:spPr>
          <a:xfrm>
            <a:off x="5813037" y="1452766"/>
            <a:ext cx="234724" cy="234724"/>
          </a:xfrm>
          <a:prstGeom prst="ellipse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153" name="Oval 251">
            <a:extLst>
              <a:ext uri="{FF2B5EF4-FFF2-40B4-BE49-F238E27FC236}">
                <a16:creationId xmlns:a16="http://schemas.microsoft.com/office/drawing/2014/main" id="{C42BEB35-D7DD-462E-939D-A81DB3195DB5}"/>
              </a:ext>
            </a:extLst>
          </p:cNvPr>
          <p:cNvSpPr>
            <a:spLocks noChangeAspect="1"/>
          </p:cNvSpPr>
          <p:nvPr/>
        </p:nvSpPr>
        <p:spPr>
          <a:xfrm>
            <a:off x="5079708" y="1463040"/>
            <a:ext cx="234724" cy="234724"/>
          </a:xfrm>
          <a:prstGeom prst="ellipse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156" name="Rectangle 6">
            <a:extLst>
              <a:ext uri="{FF2B5EF4-FFF2-40B4-BE49-F238E27FC236}">
                <a16:creationId xmlns:a16="http://schemas.microsoft.com/office/drawing/2014/main" id="{F7B48067-E436-4321-B75E-B50657650963}"/>
              </a:ext>
            </a:extLst>
          </p:cNvPr>
          <p:cNvSpPr/>
          <p:nvPr/>
        </p:nvSpPr>
        <p:spPr>
          <a:xfrm>
            <a:off x="2140462" y="4268922"/>
            <a:ext cx="191686" cy="190934"/>
          </a:xfrm>
          <a:prstGeom prst="rect">
            <a:avLst/>
          </a:pr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8" name="Oval 251">
            <a:extLst>
              <a:ext uri="{FF2B5EF4-FFF2-40B4-BE49-F238E27FC236}">
                <a16:creationId xmlns:a16="http://schemas.microsoft.com/office/drawing/2014/main" id="{3236B162-196D-40E3-B114-15BF248B55B0}"/>
              </a:ext>
            </a:extLst>
          </p:cNvPr>
          <p:cNvSpPr>
            <a:spLocks noChangeAspect="1"/>
          </p:cNvSpPr>
          <p:nvPr/>
        </p:nvSpPr>
        <p:spPr>
          <a:xfrm>
            <a:off x="2847301" y="1452766"/>
            <a:ext cx="234724" cy="234724"/>
          </a:xfrm>
          <a:prstGeom prst="ellipse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159" name="Oval 251">
            <a:extLst>
              <a:ext uri="{FF2B5EF4-FFF2-40B4-BE49-F238E27FC236}">
                <a16:creationId xmlns:a16="http://schemas.microsoft.com/office/drawing/2014/main" id="{0CC8F1D8-3E08-43EC-91B8-F766DEC609A4}"/>
              </a:ext>
            </a:extLst>
          </p:cNvPr>
          <p:cNvSpPr>
            <a:spLocks noChangeAspect="1"/>
          </p:cNvSpPr>
          <p:nvPr/>
        </p:nvSpPr>
        <p:spPr>
          <a:xfrm>
            <a:off x="2847301" y="1841040"/>
            <a:ext cx="234724" cy="2347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160" name="Oval 251">
            <a:extLst>
              <a:ext uri="{FF2B5EF4-FFF2-40B4-BE49-F238E27FC236}">
                <a16:creationId xmlns:a16="http://schemas.microsoft.com/office/drawing/2014/main" id="{02123ED2-F1C7-4F79-903B-17788B5525E7}"/>
              </a:ext>
            </a:extLst>
          </p:cNvPr>
          <p:cNvSpPr>
            <a:spLocks noChangeAspect="1"/>
          </p:cNvSpPr>
          <p:nvPr/>
        </p:nvSpPr>
        <p:spPr>
          <a:xfrm>
            <a:off x="2847301" y="2243170"/>
            <a:ext cx="234724" cy="23472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161" name="Oval 251">
            <a:extLst>
              <a:ext uri="{FF2B5EF4-FFF2-40B4-BE49-F238E27FC236}">
                <a16:creationId xmlns:a16="http://schemas.microsoft.com/office/drawing/2014/main" id="{2DCC2506-170E-4BDB-992D-A3362A242CF8}"/>
              </a:ext>
            </a:extLst>
          </p:cNvPr>
          <p:cNvSpPr>
            <a:spLocks noChangeAspect="1"/>
          </p:cNvSpPr>
          <p:nvPr/>
        </p:nvSpPr>
        <p:spPr>
          <a:xfrm>
            <a:off x="2847301" y="3050731"/>
            <a:ext cx="234724" cy="23472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  <a:latin typeface="Santander Text" panose="020B0504020201020104" pitchFamily="34" charset="0"/>
            </a:endParaRPr>
          </a:p>
        </p:txBody>
      </p:sp>
      <p:sp>
        <p:nvSpPr>
          <p:cNvPr id="162" name="Oval 251">
            <a:extLst>
              <a:ext uri="{FF2B5EF4-FFF2-40B4-BE49-F238E27FC236}">
                <a16:creationId xmlns:a16="http://schemas.microsoft.com/office/drawing/2014/main" id="{F75C58F9-C11A-499F-816D-D073E8F6762B}"/>
              </a:ext>
            </a:extLst>
          </p:cNvPr>
          <p:cNvSpPr>
            <a:spLocks noChangeAspect="1"/>
          </p:cNvSpPr>
          <p:nvPr/>
        </p:nvSpPr>
        <p:spPr>
          <a:xfrm>
            <a:off x="2842293" y="5030780"/>
            <a:ext cx="234724" cy="23472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163" name="Hexagon 252">
            <a:extLst>
              <a:ext uri="{FF2B5EF4-FFF2-40B4-BE49-F238E27FC236}">
                <a16:creationId xmlns:a16="http://schemas.microsoft.com/office/drawing/2014/main" id="{4DD7C5B8-A4F4-4805-A18C-85A01C39B228}"/>
              </a:ext>
            </a:extLst>
          </p:cNvPr>
          <p:cNvSpPr/>
          <p:nvPr/>
        </p:nvSpPr>
        <p:spPr>
          <a:xfrm>
            <a:off x="5066375" y="3047335"/>
            <a:ext cx="261389" cy="243024"/>
          </a:xfrm>
          <a:prstGeom prst="hexag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164" name="Oval 251">
            <a:extLst>
              <a:ext uri="{FF2B5EF4-FFF2-40B4-BE49-F238E27FC236}">
                <a16:creationId xmlns:a16="http://schemas.microsoft.com/office/drawing/2014/main" id="{4609DD76-2C34-41AB-8ACD-94244EE24048}"/>
              </a:ext>
            </a:extLst>
          </p:cNvPr>
          <p:cNvSpPr>
            <a:spLocks noChangeAspect="1"/>
          </p:cNvSpPr>
          <p:nvPr/>
        </p:nvSpPr>
        <p:spPr>
          <a:xfrm>
            <a:off x="2119091" y="5028589"/>
            <a:ext cx="234724" cy="23472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172" name="Oval 251">
            <a:extLst>
              <a:ext uri="{FF2B5EF4-FFF2-40B4-BE49-F238E27FC236}">
                <a16:creationId xmlns:a16="http://schemas.microsoft.com/office/drawing/2014/main" id="{D8E323B9-55D4-49FC-AD07-0114B9075730}"/>
              </a:ext>
            </a:extLst>
          </p:cNvPr>
          <p:cNvSpPr>
            <a:spLocks noChangeAspect="1"/>
          </p:cNvSpPr>
          <p:nvPr/>
        </p:nvSpPr>
        <p:spPr>
          <a:xfrm>
            <a:off x="2844124" y="3429000"/>
            <a:ext cx="234724" cy="23472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259" name="CuadroTexto 161">
            <a:extLst>
              <a:ext uri="{FF2B5EF4-FFF2-40B4-BE49-F238E27FC236}">
                <a16:creationId xmlns:a16="http://schemas.microsoft.com/office/drawing/2014/main" id="{5C0E6936-0D81-4196-B807-340831815624}"/>
              </a:ext>
            </a:extLst>
          </p:cNvPr>
          <p:cNvSpPr txBox="1"/>
          <p:nvPr/>
        </p:nvSpPr>
        <p:spPr>
          <a:xfrm>
            <a:off x="1951027" y="4124794"/>
            <a:ext cx="222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 panose="020B05040202010201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60" name="Hexagon 252">
            <a:extLst>
              <a:ext uri="{FF2B5EF4-FFF2-40B4-BE49-F238E27FC236}">
                <a16:creationId xmlns:a16="http://schemas.microsoft.com/office/drawing/2014/main" id="{F73446E9-F5C2-4AD6-9631-B1F1EA0165DD}"/>
              </a:ext>
            </a:extLst>
          </p:cNvPr>
          <p:cNvSpPr/>
          <p:nvPr/>
        </p:nvSpPr>
        <p:spPr>
          <a:xfrm>
            <a:off x="2815628" y="4237371"/>
            <a:ext cx="261389" cy="243024"/>
          </a:xfrm>
          <a:prstGeom prst="hexag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261" name="Hexagon 252">
            <a:extLst>
              <a:ext uri="{FF2B5EF4-FFF2-40B4-BE49-F238E27FC236}">
                <a16:creationId xmlns:a16="http://schemas.microsoft.com/office/drawing/2014/main" id="{48276035-3512-4BF7-9D15-A573ACC6887B}"/>
              </a:ext>
            </a:extLst>
          </p:cNvPr>
          <p:cNvSpPr/>
          <p:nvPr/>
        </p:nvSpPr>
        <p:spPr>
          <a:xfrm>
            <a:off x="8832586" y="1831993"/>
            <a:ext cx="261389" cy="243024"/>
          </a:xfrm>
          <a:prstGeom prst="hexago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62" name="Hexagon 252">
            <a:extLst>
              <a:ext uri="{FF2B5EF4-FFF2-40B4-BE49-F238E27FC236}">
                <a16:creationId xmlns:a16="http://schemas.microsoft.com/office/drawing/2014/main" id="{E8B3A121-1C6A-4B49-BDB3-B47D8C231D34}"/>
              </a:ext>
            </a:extLst>
          </p:cNvPr>
          <p:cNvSpPr/>
          <p:nvPr/>
        </p:nvSpPr>
        <p:spPr>
          <a:xfrm>
            <a:off x="8041650" y="1851284"/>
            <a:ext cx="261389" cy="243024"/>
          </a:xfrm>
          <a:prstGeom prst="hexago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64" name="Rectangle 6">
            <a:extLst>
              <a:ext uri="{FF2B5EF4-FFF2-40B4-BE49-F238E27FC236}">
                <a16:creationId xmlns:a16="http://schemas.microsoft.com/office/drawing/2014/main" id="{E7D81345-73B9-4F6D-A041-58BBFF136A13}"/>
              </a:ext>
            </a:extLst>
          </p:cNvPr>
          <p:cNvSpPr/>
          <p:nvPr/>
        </p:nvSpPr>
        <p:spPr>
          <a:xfrm>
            <a:off x="7335867" y="1877329"/>
            <a:ext cx="191686" cy="190934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5" name="CuadroTexto 163">
            <a:extLst>
              <a:ext uri="{FF2B5EF4-FFF2-40B4-BE49-F238E27FC236}">
                <a16:creationId xmlns:a16="http://schemas.microsoft.com/office/drawing/2014/main" id="{6D24C552-6C52-4CCB-9F2D-53D33E39FFD2}"/>
              </a:ext>
            </a:extLst>
          </p:cNvPr>
          <p:cNvSpPr txBox="1"/>
          <p:nvPr/>
        </p:nvSpPr>
        <p:spPr>
          <a:xfrm>
            <a:off x="7055990" y="1763206"/>
            <a:ext cx="222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 panose="020B05040202010201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66" name="Oval 208">
            <a:extLst>
              <a:ext uri="{FF2B5EF4-FFF2-40B4-BE49-F238E27FC236}">
                <a16:creationId xmlns:a16="http://schemas.microsoft.com/office/drawing/2014/main" id="{D8B860B9-9699-421F-9356-D37A2904D38E}"/>
              </a:ext>
            </a:extLst>
          </p:cNvPr>
          <p:cNvSpPr>
            <a:spLocks noChangeAspect="1"/>
          </p:cNvSpPr>
          <p:nvPr/>
        </p:nvSpPr>
        <p:spPr>
          <a:xfrm>
            <a:off x="3580873" y="1459328"/>
            <a:ext cx="234724" cy="23472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67" name="Hexagon 209">
            <a:extLst>
              <a:ext uri="{FF2B5EF4-FFF2-40B4-BE49-F238E27FC236}">
                <a16:creationId xmlns:a16="http://schemas.microsoft.com/office/drawing/2014/main" id="{9AAA2977-8FFD-426E-A586-674640378721}"/>
              </a:ext>
            </a:extLst>
          </p:cNvPr>
          <p:cNvSpPr/>
          <p:nvPr/>
        </p:nvSpPr>
        <p:spPr>
          <a:xfrm>
            <a:off x="8045236" y="1472629"/>
            <a:ext cx="261389" cy="243024"/>
          </a:xfrm>
          <a:prstGeom prst="hexago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69" name="Oval 251">
            <a:extLst>
              <a:ext uri="{FF2B5EF4-FFF2-40B4-BE49-F238E27FC236}">
                <a16:creationId xmlns:a16="http://schemas.microsoft.com/office/drawing/2014/main" id="{F028187E-B841-4289-8B9A-DEFFC5A94742}"/>
              </a:ext>
            </a:extLst>
          </p:cNvPr>
          <p:cNvSpPr>
            <a:spLocks noChangeAspect="1"/>
          </p:cNvSpPr>
          <p:nvPr/>
        </p:nvSpPr>
        <p:spPr>
          <a:xfrm>
            <a:off x="3585019" y="4632452"/>
            <a:ext cx="234724" cy="23472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270" name="Oval 251">
            <a:extLst>
              <a:ext uri="{FF2B5EF4-FFF2-40B4-BE49-F238E27FC236}">
                <a16:creationId xmlns:a16="http://schemas.microsoft.com/office/drawing/2014/main" id="{E2F3F450-0A13-4148-9A46-82C310E74016}"/>
              </a:ext>
            </a:extLst>
          </p:cNvPr>
          <p:cNvSpPr>
            <a:spLocks noChangeAspect="1"/>
          </p:cNvSpPr>
          <p:nvPr/>
        </p:nvSpPr>
        <p:spPr>
          <a:xfrm>
            <a:off x="3593465" y="3447544"/>
            <a:ext cx="234724" cy="23472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271" name="Oval 251">
            <a:extLst>
              <a:ext uri="{FF2B5EF4-FFF2-40B4-BE49-F238E27FC236}">
                <a16:creationId xmlns:a16="http://schemas.microsoft.com/office/drawing/2014/main" id="{5EE06B34-AC25-47D0-B9CF-84876337B93F}"/>
              </a:ext>
            </a:extLst>
          </p:cNvPr>
          <p:cNvSpPr>
            <a:spLocks noChangeAspect="1"/>
          </p:cNvSpPr>
          <p:nvPr/>
        </p:nvSpPr>
        <p:spPr>
          <a:xfrm>
            <a:off x="2852104" y="2683127"/>
            <a:ext cx="234724" cy="23472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272" name="Oval 251">
            <a:extLst>
              <a:ext uri="{FF2B5EF4-FFF2-40B4-BE49-F238E27FC236}">
                <a16:creationId xmlns:a16="http://schemas.microsoft.com/office/drawing/2014/main" id="{695FD807-6329-4782-A805-C4750D15D8E5}"/>
              </a:ext>
            </a:extLst>
          </p:cNvPr>
          <p:cNvSpPr>
            <a:spLocks noChangeAspect="1"/>
          </p:cNvSpPr>
          <p:nvPr/>
        </p:nvSpPr>
        <p:spPr>
          <a:xfrm>
            <a:off x="3580873" y="2243170"/>
            <a:ext cx="234724" cy="23472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274" name="Oval 251">
            <a:extLst>
              <a:ext uri="{FF2B5EF4-FFF2-40B4-BE49-F238E27FC236}">
                <a16:creationId xmlns:a16="http://schemas.microsoft.com/office/drawing/2014/main" id="{9915D205-66B0-421D-A4D0-59BD7FDCFA3C}"/>
              </a:ext>
            </a:extLst>
          </p:cNvPr>
          <p:cNvSpPr>
            <a:spLocks noChangeAspect="1"/>
          </p:cNvSpPr>
          <p:nvPr/>
        </p:nvSpPr>
        <p:spPr>
          <a:xfrm>
            <a:off x="6605012" y="1457608"/>
            <a:ext cx="234724" cy="23472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275" name="Pentágono regular 178">
            <a:extLst>
              <a:ext uri="{FF2B5EF4-FFF2-40B4-BE49-F238E27FC236}">
                <a16:creationId xmlns:a16="http://schemas.microsoft.com/office/drawing/2014/main" id="{DFA06CD3-DA07-4239-8B72-75E7C32D15D8}"/>
              </a:ext>
            </a:extLst>
          </p:cNvPr>
          <p:cNvSpPr/>
          <p:nvPr/>
        </p:nvSpPr>
        <p:spPr>
          <a:xfrm>
            <a:off x="8803605" y="1446684"/>
            <a:ext cx="292698" cy="246888"/>
          </a:xfrm>
          <a:prstGeom prst="pentago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7" name="CuadroTexto 161">
            <a:extLst>
              <a:ext uri="{FF2B5EF4-FFF2-40B4-BE49-F238E27FC236}">
                <a16:creationId xmlns:a16="http://schemas.microsoft.com/office/drawing/2014/main" id="{A9F4EECD-41FE-458C-92F1-38B0590379ED}"/>
              </a:ext>
            </a:extLst>
          </p:cNvPr>
          <p:cNvSpPr txBox="1"/>
          <p:nvPr/>
        </p:nvSpPr>
        <p:spPr>
          <a:xfrm>
            <a:off x="1919728" y="2573658"/>
            <a:ext cx="222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 panose="020B05040202010201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" name="Pentágono regular 104">
            <a:extLst>
              <a:ext uri="{FF2B5EF4-FFF2-40B4-BE49-F238E27FC236}">
                <a16:creationId xmlns:a16="http://schemas.microsoft.com/office/drawing/2014/main" id="{1A3AC2E4-FD98-17B2-D46F-9186D3CA8335}"/>
              </a:ext>
            </a:extLst>
          </p:cNvPr>
          <p:cNvSpPr/>
          <p:nvPr/>
        </p:nvSpPr>
        <p:spPr>
          <a:xfrm>
            <a:off x="4328093" y="4638725"/>
            <a:ext cx="292698" cy="246888"/>
          </a:xfrm>
          <a:prstGeom prst="pent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3" name="Pentágono regular 104">
            <a:extLst>
              <a:ext uri="{FF2B5EF4-FFF2-40B4-BE49-F238E27FC236}">
                <a16:creationId xmlns:a16="http://schemas.microsoft.com/office/drawing/2014/main" id="{65B1EA3E-42E7-8BF9-999D-5E8C90946197}"/>
              </a:ext>
            </a:extLst>
          </p:cNvPr>
          <p:cNvSpPr/>
          <p:nvPr/>
        </p:nvSpPr>
        <p:spPr>
          <a:xfrm>
            <a:off x="4308802" y="3008623"/>
            <a:ext cx="292698" cy="246888"/>
          </a:xfrm>
          <a:prstGeom prst="pent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4" name="CuadroTexto 161">
            <a:extLst>
              <a:ext uri="{FF2B5EF4-FFF2-40B4-BE49-F238E27FC236}">
                <a16:creationId xmlns:a16="http://schemas.microsoft.com/office/drawing/2014/main" id="{5D93383C-2D28-B9A6-C171-A764F3F09FC6}"/>
              </a:ext>
            </a:extLst>
          </p:cNvPr>
          <p:cNvSpPr txBox="1"/>
          <p:nvPr/>
        </p:nvSpPr>
        <p:spPr>
          <a:xfrm>
            <a:off x="4102688" y="2934908"/>
            <a:ext cx="222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 panose="020B05040202010201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5" name="CuadroTexto 161">
            <a:extLst>
              <a:ext uri="{FF2B5EF4-FFF2-40B4-BE49-F238E27FC236}">
                <a16:creationId xmlns:a16="http://schemas.microsoft.com/office/drawing/2014/main" id="{06C1C6E9-9A72-4F94-8A15-49D1A54D96DE}"/>
              </a:ext>
            </a:extLst>
          </p:cNvPr>
          <p:cNvSpPr txBox="1"/>
          <p:nvPr/>
        </p:nvSpPr>
        <p:spPr>
          <a:xfrm>
            <a:off x="4883979" y="2925262"/>
            <a:ext cx="222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 panose="020B05040202010201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6" name="Pentágono regular 104">
            <a:extLst>
              <a:ext uri="{FF2B5EF4-FFF2-40B4-BE49-F238E27FC236}">
                <a16:creationId xmlns:a16="http://schemas.microsoft.com/office/drawing/2014/main" id="{B4F1BAC9-0234-F25A-85FE-8C85CFF0213A}"/>
              </a:ext>
            </a:extLst>
          </p:cNvPr>
          <p:cNvSpPr/>
          <p:nvPr/>
        </p:nvSpPr>
        <p:spPr>
          <a:xfrm>
            <a:off x="4289510" y="1841509"/>
            <a:ext cx="292698" cy="246888"/>
          </a:xfrm>
          <a:prstGeom prst="pent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105" name="Oval 251">
            <a:extLst>
              <a:ext uri="{FF2B5EF4-FFF2-40B4-BE49-F238E27FC236}">
                <a16:creationId xmlns:a16="http://schemas.microsoft.com/office/drawing/2014/main" id="{D73B3CDA-D56D-46EE-AE29-9CA5FB150129}"/>
              </a:ext>
            </a:extLst>
          </p:cNvPr>
          <p:cNvSpPr>
            <a:spLocks noChangeAspect="1"/>
          </p:cNvSpPr>
          <p:nvPr/>
        </p:nvSpPr>
        <p:spPr>
          <a:xfrm>
            <a:off x="3585019" y="3070494"/>
            <a:ext cx="234724" cy="23472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143" name="Oval 251">
            <a:extLst>
              <a:ext uri="{FF2B5EF4-FFF2-40B4-BE49-F238E27FC236}">
                <a16:creationId xmlns:a16="http://schemas.microsoft.com/office/drawing/2014/main" id="{6C16BCE4-A186-4366-8CA7-8B2A7E16C2F0}"/>
              </a:ext>
            </a:extLst>
          </p:cNvPr>
          <p:cNvSpPr>
            <a:spLocks noChangeAspect="1"/>
          </p:cNvSpPr>
          <p:nvPr/>
        </p:nvSpPr>
        <p:spPr>
          <a:xfrm>
            <a:off x="8080194" y="2683127"/>
            <a:ext cx="234724" cy="23472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prstClr val="white"/>
              </a:solidFill>
              <a:latin typeface="Santander Text" panose="020B0504020201020104" pitchFamily="34" charset="0"/>
            </a:endParaRPr>
          </a:p>
        </p:txBody>
      </p:sp>
      <p:sp>
        <p:nvSpPr>
          <p:cNvPr id="154" name="TextBox 5">
            <a:extLst>
              <a:ext uri="{FF2B5EF4-FFF2-40B4-BE49-F238E27FC236}">
                <a16:creationId xmlns:a16="http://schemas.microsoft.com/office/drawing/2014/main" id="{B9FBD4C0-21A9-4025-85D4-52EF2EDD4B3A}"/>
              </a:ext>
            </a:extLst>
          </p:cNvPr>
          <p:cNvSpPr txBox="1"/>
          <p:nvPr/>
        </p:nvSpPr>
        <p:spPr>
          <a:xfrm>
            <a:off x="10627880" y="6190241"/>
            <a:ext cx="6744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antander Text" panose="020B0504020201020104" pitchFamily="34" charset="0"/>
                <a:ea typeface="+mn-ea"/>
                <a:cs typeface="Calibri" panose="020F0502020204030204" pitchFamily="34" charset="0"/>
              </a:rPr>
              <a:t>Production</a:t>
            </a:r>
          </a:p>
        </p:txBody>
      </p:sp>
      <p:sp>
        <p:nvSpPr>
          <p:cNvPr id="187" name="Oval 242">
            <a:extLst>
              <a:ext uri="{FF2B5EF4-FFF2-40B4-BE49-F238E27FC236}">
                <a16:creationId xmlns:a16="http://schemas.microsoft.com/office/drawing/2014/main" id="{155B83C6-6756-4FBC-B4D6-375EA928289E}"/>
              </a:ext>
            </a:extLst>
          </p:cNvPr>
          <p:cNvSpPr/>
          <p:nvPr/>
        </p:nvSpPr>
        <p:spPr>
          <a:xfrm>
            <a:off x="10521322" y="6208321"/>
            <a:ext cx="186808" cy="186808"/>
          </a:xfrm>
          <a:prstGeom prst="ellipse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</a:t>
            </a:r>
          </a:p>
        </p:txBody>
      </p:sp>
      <p:sp>
        <p:nvSpPr>
          <p:cNvPr id="188" name="Oval 251">
            <a:extLst>
              <a:ext uri="{FF2B5EF4-FFF2-40B4-BE49-F238E27FC236}">
                <a16:creationId xmlns:a16="http://schemas.microsoft.com/office/drawing/2014/main" id="{0088B6EF-C2FD-44DD-B122-D167F3CBA0B9}"/>
              </a:ext>
            </a:extLst>
          </p:cNvPr>
          <p:cNvSpPr>
            <a:spLocks noChangeAspect="1"/>
          </p:cNvSpPr>
          <p:nvPr/>
        </p:nvSpPr>
        <p:spPr>
          <a:xfrm>
            <a:off x="7337466" y="1462281"/>
            <a:ext cx="234724" cy="234724"/>
          </a:xfrm>
          <a:prstGeom prst="ellipse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sp>
        <p:nvSpPr>
          <p:cNvPr id="189" name="CuadroTexto 176">
            <a:extLst>
              <a:ext uri="{FF2B5EF4-FFF2-40B4-BE49-F238E27FC236}">
                <a16:creationId xmlns:a16="http://schemas.microsoft.com/office/drawing/2014/main" id="{747D9F04-F719-4B05-A719-8BD445D0A408}"/>
              </a:ext>
            </a:extLst>
          </p:cNvPr>
          <p:cNvSpPr txBox="1"/>
          <p:nvPr/>
        </p:nvSpPr>
        <p:spPr>
          <a:xfrm>
            <a:off x="7135780" y="1363309"/>
            <a:ext cx="2221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900" b="1">
                <a:solidFill>
                  <a:prstClr val="black"/>
                </a:solidFill>
                <a:latin typeface="Santander Text" panose="020B0504020201020104" pitchFamily="34" charset="0"/>
              </a:rPr>
              <a:t>2</a:t>
            </a:r>
            <a:endParaRPr kumimoji="0" lang="es-E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antander Text" panose="020B0504020201020104" pitchFamily="34" charset="0"/>
              <a:ea typeface="+mn-ea"/>
              <a:cs typeface="+mn-cs"/>
            </a:endParaRPr>
          </a:p>
        </p:txBody>
      </p:sp>
      <p:pic>
        <p:nvPicPr>
          <p:cNvPr id="106" name="Imagen 126">
            <a:extLst>
              <a:ext uri="{FF2B5EF4-FFF2-40B4-BE49-F238E27FC236}">
                <a16:creationId xmlns:a16="http://schemas.microsoft.com/office/drawing/2014/main" id="{9B40F9B4-1AB8-4B86-904E-0C39B43A338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5" r="25629"/>
          <a:stretch/>
        </p:blipFill>
        <p:spPr>
          <a:xfrm>
            <a:off x="186666" y="1459154"/>
            <a:ext cx="220750" cy="220879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07" name="Imagen 127">
            <a:extLst>
              <a:ext uri="{FF2B5EF4-FFF2-40B4-BE49-F238E27FC236}">
                <a16:creationId xmlns:a16="http://schemas.microsoft.com/office/drawing/2014/main" id="{8A624145-2CF1-4F39-9CAC-942FB7A512A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10" r="25645"/>
          <a:stretch/>
        </p:blipFill>
        <p:spPr>
          <a:xfrm>
            <a:off x="207539" y="1862446"/>
            <a:ext cx="199876" cy="200500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08" name="Imagen 128">
            <a:extLst>
              <a:ext uri="{FF2B5EF4-FFF2-40B4-BE49-F238E27FC236}">
                <a16:creationId xmlns:a16="http://schemas.microsoft.com/office/drawing/2014/main" id="{D9312480-61B1-4210-8230-ABFE7287AAB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7921" b="89109" l="12381" r="95238">
                        <a14:foregroundMark x1="70476" y1="62376" x2="70476" y2="62376"/>
                      </a14:backgroundRemoval>
                    </a14:imgEffect>
                  </a14:imgLayer>
                </a14:imgProps>
              </a:ext>
            </a:extLst>
          </a:blip>
          <a:srcRect l="12754" t="7723" r="4858" b="10136"/>
          <a:stretch/>
        </p:blipFill>
        <p:spPr>
          <a:xfrm>
            <a:off x="325959" y="1743269"/>
            <a:ext cx="117344" cy="112534"/>
          </a:xfrm>
          <a:prstGeom prst="rect">
            <a:avLst/>
          </a:prstGeom>
        </p:spPr>
      </p:pic>
      <p:pic>
        <p:nvPicPr>
          <p:cNvPr id="109" name="Picture 165">
            <a:extLst>
              <a:ext uri="{FF2B5EF4-FFF2-40B4-BE49-F238E27FC236}">
                <a16:creationId xmlns:a16="http://schemas.microsoft.com/office/drawing/2014/main" id="{5087DCBC-81DF-494D-9216-DAF0A31BD30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577" b="92500" l="10000" r="90000">
                        <a14:foregroundMark x1="46111" y1="41538" x2="46111" y2="41538"/>
                        <a14:foregroundMark x1="43222" y1="43269" x2="43222" y2="43269"/>
                        <a14:foregroundMark x1="45889" y1="48846" x2="45889" y2="48846"/>
                        <a14:foregroundMark x1="47222" y1="49808" x2="47222" y2="49808"/>
                        <a14:foregroundMark x1="50333" y1="8269" x2="50333" y2="8269"/>
                        <a14:foregroundMark x1="44111" y1="6538" x2="44111" y2="6538"/>
                        <a14:foregroundMark x1="47778" y1="5577" x2="47778" y2="5577"/>
                        <a14:foregroundMark x1="50333" y1="92500" x2="50333" y2="92500"/>
                        <a14:foregroundMark x1="46556" y1="43269" x2="46556" y2="43269"/>
                        <a14:foregroundMark x1="43889" y1="42692" x2="43889" y2="42692"/>
                        <a14:foregroundMark x1="43778" y1="48269" x2="43778" y2="48269"/>
                        <a14:foregroundMark x1="43333" y1="50192" x2="43333" y2="5019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201" t="2049" r="22175" b="4582"/>
          <a:stretch/>
        </p:blipFill>
        <p:spPr>
          <a:xfrm>
            <a:off x="188521" y="2245359"/>
            <a:ext cx="240403" cy="237425"/>
          </a:xfrm>
          <a:prstGeom prst="rect">
            <a:avLst/>
          </a:prstGeom>
        </p:spPr>
      </p:pic>
      <p:pic>
        <p:nvPicPr>
          <p:cNvPr id="110" name="Imagen 130">
            <a:extLst>
              <a:ext uri="{FF2B5EF4-FFF2-40B4-BE49-F238E27FC236}">
                <a16:creationId xmlns:a16="http://schemas.microsoft.com/office/drawing/2014/main" id="{C9AEB95F-1DB4-4ADC-B7A4-7792A998E80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48" r="21248"/>
          <a:stretch/>
        </p:blipFill>
        <p:spPr>
          <a:xfrm>
            <a:off x="199529" y="3058900"/>
            <a:ext cx="216879" cy="216748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12" name="Picture 164">
            <a:extLst>
              <a:ext uri="{FF2B5EF4-FFF2-40B4-BE49-F238E27FC236}">
                <a16:creationId xmlns:a16="http://schemas.microsoft.com/office/drawing/2014/main" id="{B9CDC3A6-A0BC-4BD2-958A-29B191C7B50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6167" b="85500" l="6667" r="93874">
                        <a14:foregroundMark x1="30991" y1="22500" x2="30991" y2="22500"/>
                        <a14:foregroundMark x1="28108" y1="31000" x2="28108" y2="31000"/>
                        <a14:foregroundMark x1="29009" y1="26167" x2="29009" y2="26167"/>
                        <a14:foregroundMark x1="27207" y1="24167" x2="27207" y2="24167"/>
                        <a14:foregroundMark x1="27027" y1="24667" x2="26486" y2="25500"/>
                        <a14:foregroundMark x1="26306" y1="28667" x2="26306" y2="28667"/>
                        <a14:foregroundMark x1="25946" y1="32333" x2="25946" y2="32333"/>
                        <a14:foregroundMark x1="25946" y1="30833" x2="25946" y2="30833"/>
                        <a14:foregroundMark x1="26486" y1="27667" x2="26486" y2="27667"/>
                        <a14:foregroundMark x1="29730" y1="27167" x2="26486" y2="26500"/>
                        <a14:foregroundMark x1="30450" y1="30167" x2="30450" y2="30167"/>
                        <a14:foregroundMark x1="28829" y1="29000" x2="28829" y2="29000"/>
                        <a14:foregroundMark x1="28649" y1="29000" x2="28649" y2="29000"/>
                        <a14:foregroundMark x1="27748" y1="25167" x2="27748" y2="25167"/>
                        <a14:foregroundMark x1="27748" y1="21667" x2="27748" y2="21667"/>
                        <a14:foregroundMark x1="27928" y1="20833" x2="28108" y2="19833"/>
                        <a14:foregroundMark x1="28108" y1="18500" x2="28288" y2="17833"/>
                        <a14:foregroundMark x1="17477" y1="24667" x2="17477" y2="24667"/>
                        <a14:foregroundMark x1="17477" y1="24667" x2="17477" y2="24667"/>
                        <a14:foregroundMark x1="17477" y1="24667" x2="17477" y2="24667"/>
                        <a14:foregroundMark x1="17117" y1="24000" x2="17117" y2="24000"/>
                        <a14:foregroundMark x1="17117" y1="24000" x2="17117" y2="24000"/>
                        <a14:foregroundMark x1="33874" y1="26833" x2="33874" y2="26833"/>
                        <a14:foregroundMark x1="33874" y1="26833" x2="33874" y2="26833"/>
                        <a14:foregroundMark x1="42883" y1="17667" x2="42883" y2="17667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43964" y1="11833" x2="43964" y2="11833"/>
                        <a14:foregroundMark x1="39099" y1="16167" x2="39099" y2="16167"/>
                        <a14:foregroundMark x1="36937" y1="17667" x2="36937" y2="17667"/>
                        <a14:foregroundMark x1="34775" y1="16667" x2="34775" y2="16000"/>
                        <a14:foregroundMark x1="34775" y1="14167" x2="34775" y2="14167"/>
                        <a14:foregroundMark x1="44144" y1="14000" x2="44144" y2="14000"/>
                        <a14:foregroundMark x1="47748" y1="34167" x2="47748" y2="34167"/>
                        <a14:foregroundMark x1="47568" y1="36000" x2="47207" y2="37167"/>
                        <a14:foregroundMark x1="46126" y1="38833" x2="45946" y2="39500"/>
                        <a14:foregroundMark x1="43784" y1="41500" x2="39279" y2="42000"/>
                        <a14:foregroundMark x1="37117" y1="42667" x2="35495" y2="43000"/>
                        <a14:foregroundMark x1="32793" y1="43000" x2="29009" y2="42167"/>
                        <a14:foregroundMark x1="25946" y1="41500" x2="23423" y2="41167"/>
                        <a14:foregroundMark x1="19099" y1="40167" x2="16757" y2="40500"/>
                        <a14:foregroundMark x1="16577" y1="40500" x2="16396" y2="39333"/>
                        <a14:foregroundMark x1="17117" y1="32833" x2="17658" y2="31500"/>
                        <a14:foregroundMark x1="17658" y1="30333" x2="17658" y2="30333"/>
                        <a14:foregroundMark x1="18018" y1="29500" x2="18018" y2="29500"/>
                        <a14:foregroundMark x1="12613" y1="35667" x2="12613" y2="35667"/>
                        <a14:foregroundMark x1="11892" y1="37000" x2="11892" y2="37000"/>
                        <a14:foregroundMark x1="11351" y1="40000" x2="11171" y2="40833"/>
                        <a14:foregroundMark x1="10631" y1="42333" x2="10631" y2="42333"/>
                        <a14:foregroundMark x1="10450" y1="42833" x2="9009" y2="41667"/>
                        <a14:foregroundMark x1="8829" y1="39833" x2="8829" y2="38167"/>
                        <a14:foregroundMark x1="8829" y1="36500" x2="9009" y2="35333"/>
                        <a14:foregroundMark x1="9550" y1="33000" x2="10631" y2="30167"/>
                        <a14:foregroundMark x1="10811" y1="29000" x2="10811" y2="29000"/>
                        <a14:foregroundMark x1="11171" y1="29000" x2="11171" y2="29000"/>
                        <a14:foregroundMark x1="21441" y1="17500" x2="21441" y2="17500"/>
                        <a14:foregroundMark x1="21802" y1="17333" x2="22703" y2="16667"/>
                        <a14:foregroundMark x1="24505" y1="16000" x2="26306" y2="14667"/>
                        <a14:foregroundMark x1="28288" y1="13333" x2="29730" y2="12500"/>
                        <a14:foregroundMark x1="31171" y1="12167" x2="32613" y2="11500"/>
                        <a14:foregroundMark x1="34775" y1="11333" x2="35856" y2="10667"/>
                        <a14:foregroundMark x1="39279" y1="10000" x2="40180" y2="9667"/>
                        <a14:foregroundMark x1="46847" y1="9333" x2="48288" y2="9167"/>
                        <a14:foregroundMark x1="49730" y1="9167" x2="49730" y2="9167"/>
                        <a14:foregroundMark x1="47207" y1="6167" x2="47207" y2="6167"/>
                        <a14:foregroundMark x1="65405" y1="9667" x2="65405" y2="9667"/>
                        <a14:foregroundMark x1="65766" y1="12667" x2="65045" y2="14000"/>
                        <a14:foregroundMark x1="64144" y1="15667" x2="64144" y2="15667"/>
                        <a14:foregroundMark x1="64144" y1="17500" x2="64144" y2="17500"/>
                        <a14:foregroundMark x1="64324" y1="21333" x2="64324" y2="21333"/>
                        <a14:foregroundMark x1="65225" y1="25167" x2="66126" y2="27500"/>
                        <a14:foregroundMark x1="68108" y1="31500" x2="68288" y2="32333"/>
                        <a14:foregroundMark x1="69189" y1="33833" x2="69189" y2="33833"/>
                        <a14:foregroundMark x1="70270" y1="34500" x2="70450" y2="35167"/>
                        <a14:foregroundMark x1="70270" y1="39833" x2="67568" y2="38500"/>
                        <a14:foregroundMark x1="61441" y1="35833" x2="59640" y2="32333"/>
                        <a14:foregroundMark x1="57658" y1="29000" x2="57658" y2="27333"/>
                        <a14:foregroundMark x1="57838" y1="24500" x2="58378" y2="21333"/>
                        <a14:foregroundMark x1="58378" y1="19000" x2="59099" y2="16333"/>
                        <a14:foregroundMark x1="61622" y1="16000" x2="67928" y2="19833"/>
                        <a14:foregroundMark x1="73694" y1="23833" x2="74775" y2="24500"/>
                        <a14:foregroundMark x1="77477" y1="26167" x2="78198" y2="28667"/>
                        <a14:foregroundMark x1="79640" y1="36000" x2="80000" y2="37833"/>
                        <a14:foregroundMark x1="80000" y1="40500" x2="78198" y2="40667"/>
                        <a14:foregroundMark x1="75856" y1="40000" x2="74054" y2="40000"/>
                        <a14:foregroundMark x1="70991" y1="39833" x2="69730" y2="39833"/>
                        <a14:foregroundMark x1="71892" y1="63833" x2="71892" y2="63833"/>
                        <a14:foregroundMark x1="71892" y1="64333" x2="72432" y2="65500"/>
                        <a14:foregroundMark x1="88649" y1="51333" x2="88649" y2="51333"/>
                        <a14:foregroundMark x1="88829" y1="51333" x2="88829" y2="51333"/>
                        <a14:foregroundMark x1="89369" y1="54833" x2="89550" y2="56333"/>
                        <a14:foregroundMark x1="89550" y1="57667" x2="88829" y2="59000"/>
                        <a14:foregroundMark x1="38559" y1="17667" x2="38559" y2="17667"/>
                        <a14:foregroundMark x1="45225" y1="21167" x2="45225" y2="21167"/>
                        <a14:foregroundMark x1="45225" y1="21167" x2="45225" y2="21167"/>
                        <a14:foregroundMark x1="44144" y1="12500" x2="44144" y2="12500"/>
                        <a14:foregroundMark x1="60360" y1="81500" x2="60360" y2="81500"/>
                        <a14:foregroundMark x1="54054" y1="82833" x2="54054" y2="82833"/>
                        <a14:foregroundMark x1="49369" y1="85500" x2="49369" y2="85500"/>
                        <a14:foregroundMark x1="37117" y1="15667" x2="37117" y2="15667"/>
                        <a14:foregroundMark x1="27748" y1="20833" x2="27748" y2="20833"/>
                        <a14:foregroundMark x1="28649" y1="23333" x2="28649" y2="23333"/>
                        <a14:foregroundMark x1="24505" y1="25167" x2="24505" y2="25167"/>
                        <a14:foregroundMark x1="24144" y1="28667" x2="24144" y2="28667"/>
                        <a14:foregroundMark x1="20360" y1="25833" x2="20360" y2="25833"/>
                        <a14:foregroundMark x1="36396" y1="26000" x2="36396" y2="26000"/>
                        <a14:foregroundMark x1="32793" y1="33167" x2="32793" y2="33167"/>
                        <a14:foregroundMark x1="31712" y1="27167" x2="31712" y2="27167"/>
                        <a14:foregroundMark x1="94054" y1="48167" x2="94054" y2="48167"/>
                        <a14:foregroundMark x1="6667" y1="48167" x2="6667" y2="48167"/>
                        <a14:foregroundMark x1="61982" y1="26000" x2="61982" y2="26000"/>
                        <a14:foregroundMark x1="62162" y1="33667" x2="62162" y2="33667"/>
                        <a14:foregroundMark x1="60000" y1="39833" x2="60000" y2="39833"/>
                        <a14:foregroundMark x1="60000" y1="40167" x2="62162" y2="23000"/>
                        <a14:foregroundMark x1="62162" y1="23000" x2="76577" y2="27833"/>
                        <a14:foregroundMark x1="76577" y1="27833" x2="67027" y2="40167"/>
                        <a14:foregroundMark x1="67027" y1="40167" x2="65405" y2="38667"/>
                        <a14:foregroundMark x1="76216" y1="31833" x2="76216" y2="31833"/>
                        <a14:foregroundMark x1="83243" y1="35833" x2="83243" y2="35833"/>
                        <a14:foregroundMark x1="84144" y1="43333" x2="84144" y2="43333"/>
                        <a14:foregroundMark x1="92252" y1="42667" x2="75495" y2="17667"/>
                        <a14:foregroundMark x1="75495" y1="17667" x2="62342" y2="9500"/>
                        <a14:foregroundMark x1="62342" y1="9500" x2="54054" y2="7833"/>
                        <a14:foregroundMark x1="53874" y1="9333" x2="55495" y2="38667"/>
                        <a14:foregroundMark x1="55495" y1="38667" x2="70090" y2="43000"/>
                        <a14:foregroundMark x1="70090" y1="43000" x2="86847" y2="42833"/>
                        <a14:foregroundMark x1="86847" y1="42833" x2="87748" y2="38000"/>
                        <a14:foregroundMark x1="55495" y1="7000" x2="55495" y2="7000"/>
                        <a14:backgroundMark x1="90811" y1="12167" x2="90811" y2="12167"/>
                        <a14:backgroundMark x1="17117" y1="6500" x2="17117" y2="6500"/>
                        <a14:backgroundMark x1="17117" y1="6500" x2="17117" y2="6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505" t="4352" r="3668" b="11878"/>
          <a:stretch/>
        </p:blipFill>
        <p:spPr>
          <a:xfrm>
            <a:off x="175517" y="3466305"/>
            <a:ext cx="244905" cy="244192"/>
          </a:xfrm>
          <a:prstGeom prst="rect">
            <a:avLst/>
          </a:prstGeom>
        </p:spPr>
      </p:pic>
      <p:pic>
        <p:nvPicPr>
          <p:cNvPr id="113" name="Imagen 132">
            <a:extLst>
              <a:ext uri="{FF2B5EF4-FFF2-40B4-BE49-F238E27FC236}">
                <a16:creationId xmlns:a16="http://schemas.microsoft.com/office/drawing/2014/main" id="{3B97F27B-FF0F-486F-B38E-BD5474A1154C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72" r="32474"/>
          <a:stretch/>
        </p:blipFill>
        <p:spPr>
          <a:xfrm>
            <a:off x="190560" y="3882678"/>
            <a:ext cx="223615" cy="220396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14" name="Imagen 133">
            <a:extLst>
              <a:ext uri="{FF2B5EF4-FFF2-40B4-BE49-F238E27FC236}">
                <a16:creationId xmlns:a16="http://schemas.microsoft.com/office/drawing/2014/main" id="{722D2ABA-936C-401C-A3A4-8BAC3600DF5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10" r="25645"/>
          <a:stretch/>
        </p:blipFill>
        <p:spPr>
          <a:xfrm>
            <a:off x="184078" y="4259022"/>
            <a:ext cx="230097" cy="230816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15" name="Imagen 134">
            <a:extLst>
              <a:ext uri="{FF2B5EF4-FFF2-40B4-BE49-F238E27FC236}">
                <a16:creationId xmlns:a16="http://schemas.microsoft.com/office/drawing/2014/main" id="{D5565C9F-9798-4CFB-8223-F932384871A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5" r="25629"/>
          <a:stretch/>
        </p:blipFill>
        <p:spPr>
          <a:xfrm>
            <a:off x="178295" y="4672255"/>
            <a:ext cx="226610" cy="226742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16" name="Imagen 135">
            <a:extLst>
              <a:ext uri="{FF2B5EF4-FFF2-40B4-BE49-F238E27FC236}">
                <a16:creationId xmlns:a16="http://schemas.microsoft.com/office/drawing/2014/main" id="{F421495D-CFF2-4747-9311-7206309E8E92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03" r="12889"/>
          <a:stretch/>
        </p:blipFill>
        <p:spPr>
          <a:xfrm>
            <a:off x="186665" y="2655928"/>
            <a:ext cx="229743" cy="225537"/>
          </a:xfrm>
          <a:prstGeom prst="ellipse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soft" dir="t"/>
          </a:scene3d>
          <a:sp3d contourW="12700" prstMaterial="powder">
            <a:bevelT w="330200" h="330200"/>
            <a:contourClr>
              <a:schemeClr val="bg1">
                <a:lumMod val="65000"/>
              </a:schemeClr>
            </a:contourClr>
          </a:sp3d>
        </p:spPr>
      </p:pic>
      <p:pic>
        <p:nvPicPr>
          <p:cNvPr id="117" name="Imagen 136">
            <a:extLst>
              <a:ext uri="{FF2B5EF4-FFF2-40B4-BE49-F238E27FC236}">
                <a16:creationId xmlns:a16="http://schemas.microsoft.com/office/drawing/2014/main" id="{44253A91-4A7E-43C1-A964-E6679559159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7921" b="89109" l="12381" r="95238">
                        <a14:foregroundMark x1="70476" y1="62376" x2="70476" y2="62376"/>
                      </a14:backgroundRemoval>
                    </a14:imgEffect>
                  </a14:imgLayer>
                </a14:imgProps>
              </a:ext>
            </a:extLst>
          </a:blip>
          <a:srcRect l="12754" t="7723" r="4858" b="10136"/>
          <a:stretch/>
        </p:blipFill>
        <p:spPr>
          <a:xfrm>
            <a:off x="332719" y="3746677"/>
            <a:ext cx="117344" cy="112534"/>
          </a:xfrm>
          <a:prstGeom prst="rect">
            <a:avLst/>
          </a:prstGeom>
        </p:spPr>
      </p:pic>
      <p:pic>
        <p:nvPicPr>
          <p:cNvPr id="118" name="Imagen 137">
            <a:extLst>
              <a:ext uri="{FF2B5EF4-FFF2-40B4-BE49-F238E27FC236}">
                <a16:creationId xmlns:a16="http://schemas.microsoft.com/office/drawing/2014/main" id="{CDF3C918-5209-4AF9-94C0-461B3304FA7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7921" b="89109" l="12381" r="95238">
                        <a14:foregroundMark x1="70476" y1="62376" x2="70476" y2="62376"/>
                      </a14:backgroundRemoval>
                    </a14:imgEffect>
                  </a14:imgLayer>
                </a14:imgProps>
              </a:ext>
            </a:extLst>
          </a:blip>
          <a:srcRect l="12754" t="7723" r="4858" b="10136"/>
          <a:stretch/>
        </p:blipFill>
        <p:spPr>
          <a:xfrm>
            <a:off x="323449" y="4538112"/>
            <a:ext cx="117344" cy="112534"/>
          </a:xfrm>
          <a:prstGeom prst="rect">
            <a:avLst/>
          </a:prstGeom>
        </p:spPr>
      </p:pic>
      <p:pic>
        <p:nvPicPr>
          <p:cNvPr id="119" name="Picture 36" descr="Ilustración de Ilustración Vectorial De Icono De Bandera De China  Ilustración De Stock De Iconos Planos Redondos y más Vectores Libres de  Derechos de Bandera china - iStock">
            <a:extLst>
              <a:ext uri="{FF2B5EF4-FFF2-40B4-BE49-F238E27FC236}">
                <a16:creationId xmlns:a16="http://schemas.microsoft.com/office/drawing/2014/main" id="{4BA2055A-3016-4D9F-AD9D-C2DBC5EB77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2" y="5012470"/>
            <a:ext cx="288391" cy="288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2053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E346533A-D3AF-4813-B21D-B14F8369E1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470702"/>
              </p:ext>
            </p:extLst>
          </p:nvPr>
        </p:nvGraphicFramePr>
        <p:xfrm>
          <a:off x="373499" y="1332101"/>
          <a:ext cx="11392898" cy="3688211"/>
        </p:xfrm>
        <a:graphic>
          <a:graphicData uri="http://schemas.openxmlformats.org/drawingml/2006/table">
            <a:tbl>
              <a:tblPr/>
              <a:tblGrid>
                <a:gridCol w="10917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5155">
                  <a:extLst>
                    <a:ext uri="{9D8B030D-6E8A-4147-A177-3AD203B41FA5}">
                      <a16:colId xmlns:a16="http://schemas.microsoft.com/office/drawing/2014/main" val="384561633"/>
                    </a:ext>
                  </a:extLst>
                </a:gridCol>
                <a:gridCol w="3052394">
                  <a:extLst>
                    <a:ext uri="{9D8B030D-6E8A-4147-A177-3AD203B41FA5}">
                      <a16:colId xmlns:a16="http://schemas.microsoft.com/office/drawing/2014/main" val="921812100"/>
                    </a:ext>
                  </a:extLst>
                </a:gridCol>
                <a:gridCol w="1278413">
                  <a:extLst>
                    <a:ext uri="{9D8B030D-6E8A-4147-A177-3AD203B41FA5}">
                      <a16:colId xmlns:a16="http://schemas.microsoft.com/office/drawing/2014/main" val="4089891530"/>
                    </a:ext>
                  </a:extLst>
                </a:gridCol>
                <a:gridCol w="722048">
                  <a:extLst>
                    <a:ext uri="{9D8B030D-6E8A-4147-A177-3AD203B41FA5}">
                      <a16:colId xmlns:a16="http://schemas.microsoft.com/office/drawing/2014/main" val="1542921772"/>
                    </a:ext>
                  </a:extLst>
                </a:gridCol>
                <a:gridCol w="1276368">
                  <a:extLst>
                    <a:ext uri="{9D8B030D-6E8A-4147-A177-3AD203B41FA5}">
                      <a16:colId xmlns:a16="http://schemas.microsoft.com/office/drawing/2014/main" val="1585417047"/>
                    </a:ext>
                  </a:extLst>
                </a:gridCol>
                <a:gridCol w="1588997">
                  <a:extLst>
                    <a:ext uri="{9D8B030D-6E8A-4147-A177-3AD203B41FA5}">
                      <a16:colId xmlns:a16="http://schemas.microsoft.com/office/drawing/2014/main" val="1856661771"/>
                    </a:ext>
                  </a:extLst>
                </a:gridCol>
                <a:gridCol w="1072673">
                  <a:extLst>
                    <a:ext uri="{9D8B030D-6E8A-4147-A177-3AD203B41FA5}">
                      <a16:colId xmlns:a16="http://schemas.microsoft.com/office/drawing/2014/main" val="890571747"/>
                    </a:ext>
                  </a:extLst>
                </a:gridCol>
                <a:gridCol w="705107">
                  <a:extLst>
                    <a:ext uri="{9D8B030D-6E8A-4147-A177-3AD203B41FA5}">
                      <a16:colId xmlns:a16="http://schemas.microsoft.com/office/drawing/2014/main" val="41579248"/>
                    </a:ext>
                  </a:extLst>
                </a:gridCol>
              </a:tblGrid>
              <a:tr h="398376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Línea de acció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Estad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Aspectos destac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Riesgos </a:t>
                      </a:r>
                      <a:endParaRPr lang="es-ES" sz="1100" b="1" i="0" u="none" strike="noStrike" noProof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Impact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Hitos afect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Próximos pas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Dueñ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Fecha límit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819693"/>
                  </a:ext>
                </a:extLst>
              </a:tr>
              <a:tr h="10740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1" i="0" u="none" strike="noStrike" err="1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mplementation</a:t>
                      </a:r>
                      <a:endParaRPr lang="es-ES" sz="1200" b="1" i="0" u="none" strike="noStrike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s-E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WIP preparación inputs para paralelos y pruebas de impacto a cierre de Septiembre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WIP Controles y gobierno (TOM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/>
                        <a:buChar char="•"/>
                      </a:pPr>
                      <a:endParaRPr lang="es-ES" sz="1000" b="0" i="0" u="none" strike="noStrike" noProof="0">
                        <a:solidFill>
                          <a:srgbClr val="000000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/>
                        <a:buChar char="•"/>
                      </a:pP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Mikel </a:t>
                      </a:r>
                    </a:p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0" i="0" u="none" strike="noStrike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Legarretaechevarria</a:t>
                      </a:r>
                      <a:endParaRPr lang="en-US"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31/12/202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3399217"/>
                  </a:ext>
                </a:extLst>
              </a:tr>
              <a:tr h="4632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100" b="1" i="0" u="sng" strike="noStrike" kern="1200" noProof="0" err="1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CoPo</a:t>
                      </a:r>
                      <a:endParaRPr lang="es-ES" sz="1100" b="1" i="0" u="sng" strike="noStrike" kern="120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WIP resolución incidencias detectadas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Entrega a VI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Mikel </a:t>
                      </a:r>
                      <a:r>
                        <a:rPr lang="es-ES" sz="1000" b="0" i="0" u="none" strike="noStrike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Legarretaechevarria</a:t>
                      </a:r>
                      <a:endParaRPr lang="es-ES" sz="1000" b="0" i="0" u="none" strike="noStrike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25.10.2022</a:t>
                      </a:r>
                      <a:endParaRPr lang="es-ES" sz="1000" b="0" i="0" u="none" strike="sngStrike" kern="120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60480928"/>
                  </a:ext>
                </a:extLst>
              </a:tr>
              <a:tr h="4817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100" b="1" i="0" u="sng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IR Vega</a:t>
                      </a:r>
                      <a:endParaRPr lang="es-ES" sz="1100" b="1" i="0" u="sng" strike="noStrike" kern="1200" noProof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latin typeface="Calibri Light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WIP </a:t>
                      </a: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Ejecución de </a:t>
                      </a:r>
                      <a:r>
                        <a:rPr lang="es-ES" sz="1000" b="0" i="0" u="none" strike="noStrike" noProof="0" err="1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UATs</a:t>
                      </a:r>
                      <a:r>
                        <a:rPr lang="es-ES" sz="1000" b="0" i="0" u="none" strike="noStrike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 globales y locales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Resolución incidencias y desajustes detectados </a:t>
                      </a:r>
                      <a:r>
                        <a:rPr lang="es-E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UATs</a:t>
                      </a:r>
                      <a:endParaRPr lang="es-ES"/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WIP ajuste incidencias en el módulo del reparto por mes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5000000000000000000" pitchFamily="2" charset="2"/>
                        <a:buChar char="•"/>
                      </a:pPr>
                      <a:r>
                        <a:rPr lang="es-E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Retraso en la fecha de cierre de desarrollo para comienzo de </a:t>
                      </a:r>
                      <a:r>
                        <a:rPr lang="es-ES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UATs</a:t>
                      </a:r>
                      <a:r>
                        <a:rPr lang="es-E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 Light"/>
                          <a:cs typeface="Calibri Light"/>
                        </a:rPr>
                        <a:t> locales</a:t>
                      </a: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s-ES_tradnl" sz="900" b="1" i="0" u="none" strike="noStrike" kern="1200">
                          <a:solidFill>
                            <a:srgbClr val="FFC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MEDIO</a:t>
                      </a:r>
                      <a:endParaRPr lang="es-ES" sz="900" b="1" kern="0">
                        <a:solidFill>
                          <a:srgbClr val="FF0000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5000000000000000000" pitchFamily="2" charset="2"/>
                        <a:buChar char="•"/>
                        <a:tabLst/>
                        <a:defRPr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Entrega a VI</a:t>
                      </a: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Entrega a VI</a:t>
                      </a: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sngStrike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16/09/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30/09/2022</a:t>
                      </a: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7357977"/>
                  </a:ext>
                </a:extLst>
              </a:tr>
              <a:tr h="481098"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s-ES" sz="1100" b="1" i="0" u="sng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INF Delta</a:t>
                      </a:r>
                    </a:p>
                  </a:txBody>
                  <a:tcPr marL="45720" marR="45720" anchor="ctr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s-ES" sz="10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WIP Documentación entrega VI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/>
                        <a:buChar char="•"/>
                      </a:pP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5000000000000000000" pitchFamily="2" charset="2"/>
                        <a:buChar char="•"/>
                        <a:tabLst/>
                        <a:defRPr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Entrega a VI</a:t>
                      </a: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00" b="0" i="0" u="none" strike="noStrike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Clr>
                          <a:srgbClr val="000000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s-ES" sz="1000" b="0" i="0" u="none" strike="noStrike" baseline="0" noProof="0">
                          <a:effectLst/>
                          <a:latin typeface="Calibri Light"/>
                          <a:cs typeface="Calibri Light"/>
                        </a:rPr>
                        <a:t>09/10/2022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55512296"/>
                  </a:ext>
                </a:extLst>
              </a:tr>
              <a:tr h="481098">
                <a:tc>
                  <a:txBody>
                    <a:bodyPr/>
                    <a:lstStyle/>
                    <a:p>
                      <a:pPr marL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s-ES" sz="1100" b="1" i="0" u="sng" strike="noStrike">
                          <a:solidFill>
                            <a:schemeClr val="tx1"/>
                          </a:solidFill>
                          <a:effectLst/>
                          <a:latin typeface="Calibri Light"/>
                          <a:cs typeface="Calibri Light"/>
                        </a:rPr>
                        <a:t>CR Delta</a:t>
                      </a:r>
                    </a:p>
                  </a:txBody>
                  <a:tcPr marL="45720" marR="45720" anchor="ctr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 Light"/>
                          <a:ea typeface="+mn-ea"/>
                          <a:cs typeface="Calibri Light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 Light"/>
                        <a:ea typeface="+mn-ea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s-ES" sz="10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Cierre de </a:t>
                      </a:r>
                      <a:r>
                        <a:rPr lang="es-ES" sz="1000" b="0" i="0" u="none" strike="noStrike" kern="1200" baseline="0" err="1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UATs</a:t>
                      </a:r>
                      <a:r>
                        <a:rPr lang="es-ES" sz="10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 y validación de resultados por parte del usuario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s-ES" sz="10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WIP Documentación entrega VI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buFont typeface="Arial"/>
                        <a:buChar char="•"/>
                      </a:pPr>
                      <a:endParaRPr lang="es-ES" sz="1000" b="0" i="0" u="none" strike="noStrike" kern="1200" baseline="0" noProof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5000000000000000000" pitchFamily="2" charset="2"/>
                        <a:buChar char="•"/>
                        <a:tabLst/>
                        <a:defRPr/>
                      </a:pPr>
                      <a:r>
                        <a:rPr lang="es-ES" sz="10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Calibri Light"/>
                        </a:rPr>
                        <a:t>Entrega a VI</a:t>
                      </a: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00" b="0" i="0" u="none" strike="noStrike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Clr>
                          <a:srgbClr val="000000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s-ES" sz="1000" b="0" i="0" u="none" strike="noStrike" baseline="0" noProof="0">
                          <a:effectLst/>
                          <a:latin typeface="Calibri Light"/>
                          <a:cs typeface="Calibri Light"/>
                        </a:rPr>
                        <a:t>31/09/2022</a:t>
                      </a:r>
                      <a:endParaRPr lang="es-ES" sz="1000" b="0" i="0" u="none" strike="sngStrike" baseline="0" noProof="0">
                        <a:effectLst/>
                        <a:latin typeface="Calibri Light"/>
                        <a:cs typeface="Calibri Light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12700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32454561"/>
                  </a:ext>
                </a:extLst>
              </a:tr>
            </a:tbl>
          </a:graphicData>
        </a:graphic>
      </p:graphicFrame>
      <p:sp>
        <p:nvSpPr>
          <p:cNvPr id="28" name="Flecha abajo 30">
            <a:extLst>
              <a:ext uri="{FF2B5EF4-FFF2-40B4-BE49-F238E27FC236}">
                <a16:creationId xmlns:a16="http://schemas.microsoft.com/office/drawing/2014/main" id="{224BEBC2-3D5D-4E4E-8CE5-B3EF9F6CBD7A}"/>
              </a:ext>
            </a:extLst>
          </p:cNvPr>
          <p:cNvSpPr/>
          <p:nvPr/>
        </p:nvSpPr>
        <p:spPr>
          <a:xfrm rot="16200000">
            <a:off x="10850394" y="-181510"/>
            <a:ext cx="188435" cy="11880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9" name="Text Box 10">
            <a:extLst>
              <a:ext uri="{FF2B5EF4-FFF2-40B4-BE49-F238E27FC236}">
                <a16:creationId xmlns:a16="http://schemas.microsoft.com/office/drawing/2014/main" id="{2BE21914-2604-4E62-8B55-49AAD4CCEA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52735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1</a:t>
            </a:r>
          </a:p>
        </p:txBody>
      </p:sp>
      <p:sp>
        <p:nvSpPr>
          <p:cNvPr id="30" name="Text Box 10">
            <a:extLst>
              <a:ext uri="{FF2B5EF4-FFF2-40B4-BE49-F238E27FC236}">
                <a16:creationId xmlns:a16="http://schemas.microsoft.com/office/drawing/2014/main" id="{15818F02-0623-43A2-A2DC-C09D5012D3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95673" y="233676"/>
            <a:ext cx="360000" cy="360000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2</a:t>
            </a:r>
            <a:endParaRPr lang="en-US"/>
          </a:p>
        </p:txBody>
      </p:sp>
      <p:sp>
        <p:nvSpPr>
          <p:cNvPr id="31" name="Text Box 10">
            <a:extLst>
              <a:ext uri="{FF2B5EF4-FFF2-40B4-BE49-F238E27FC236}">
                <a16:creationId xmlns:a16="http://schemas.microsoft.com/office/drawing/2014/main" id="{23AB55E0-76E5-4065-981D-7295A78D60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38612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marL="0" marR="0" lvl="0" indent="0" algn="ctr" defTabSz="957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2" name="Rectangle 11">
            <a:extLst>
              <a:ext uri="{FF2B5EF4-FFF2-40B4-BE49-F238E27FC236}">
                <a16:creationId xmlns:a16="http://schemas.microsoft.com/office/drawing/2014/main" id="{54811520-2AB5-446C-B673-7B83D35B8E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11577" y="515588"/>
            <a:ext cx="1728192" cy="426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36000" tIns="45671" rIns="36000" bIns="45671" anchor="ctr"/>
          <a:lstStyle/>
          <a:p>
            <a:pPr algn="ctr" defTabSz="914377" eaLnBrk="0" hangingPunct="0">
              <a:spcBef>
                <a:spcPct val="0"/>
              </a:spcBef>
              <a:defRPr/>
            </a:pPr>
            <a:r>
              <a:rPr lang="es-ES" sz="1200" b="1" kern="0" cap="small">
                <a:solidFill>
                  <a:srgbClr val="FF0000"/>
                </a:solidFill>
                <a:latin typeface="Calibri"/>
                <a:cs typeface="Calibri"/>
              </a:rPr>
              <a:t>ESTADO A 29.09.2022</a:t>
            </a:r>
            <a:endParaRPr lang="es-ES" sz="1600" b="1" kern="0" cap="small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TituloSlide">
            <a:extLst>
              <a:ext uri="{FF2B5EF4-FFF2-40B4-BE49-F238E27FC236}">
                <a16:creationId xmlns:a16="http://schemas.microsoft.com/office/drawing/2014/main" id="{66892F0E-786C-4BBB-8E98-13BB246517BE}"/>
              </a:ext>
            </a:extLst>
          </p:cNvPr>
          <p:cNvSpPr txBox="1">
            <a:spLocks/>
          </p:cNvSpPr>
          <p:nvPr/>
        </p:nvSpPr>
        <p:spPr>
          <a:xfrm>
            <a:off x="669432" y="290771"/>
            <a:ext cx="10695254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sz="2800">
                <a:solidFill>
                  <a:srgbClr val="EB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 Risk Advanced Platform</a:t>
            </a:r>
            <a:endParaRPr lang="en-029" sz="2800">
              <a:solidFill>
                <a:srgbClr val="EB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sz="200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VAs AVAs Status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5890C44-3F14-41D3-8F71-B9EE97A41C91}"/>
              </a:ext>
            </a:extLst>
          </p:cNvPr>
          <p:cNvGrpSpPr/>
          <p:nvPr/>
        </p:nvGrpSpPr>
        <p:grpSpPr>
          <a:xfrm>
            <a:off x="5056297" y="6474002"/>
            <a:ext cx="6451802" cy="369332"/>
            <a:chOff x="5056297" y="6382562"/>
            <a:chExt cx="6451802" cy="369332"/>
          </a:xfrm>
        </p:grpSpPr>
        <p:sp>
          <p:nvSpPr>
            <p:cNvPr id="35" name="Rectangle 11">
              <a:extLst>
                <a:ext uri="{FF2B5EF4-FFF2-40B4-BE49-F238E27FC236}">
                  <a16:creationId xmlns:a16="http://schemas.microsoft.com/office/drawing/2014/main" id="{9B6F861A-6BFD-4C17-9DC4-947A478D14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8556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ompleted</a:t>
              </a:r>
            </a:p>
          </p:txBody>
        </p:sp>
        <p:sp>
          <p:nvSpPr>
            <p:cNvPr id="36" name="Rectangle 11">
              <a:extLst>
                <a:ext uri="{FF2B5EF4-FFF2-40B4-BE49-F238E27FC236}">
                  <a16:creationId xmlns:a16="http://schemas.microsoft.com/office/drawing/2014/main" id="{58149165-F2EA-4454-9562-380EC603FB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8299" y="6454663"/>
              <a:ext cx="750152" cy="191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ery delayed 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≥ 30%)</a:t>
              </a:r>
            </a:p>
          </p:txBody>
        </p:sp>
        <p:sp>
          <p:nvSpPr>
            <p:cNvPr id="37" name="Rectangle 11">
              <a:extLst>
                <a:ext uri="{FF2B5EF4-FFF2-40B4-BE49-F238E27FC236}">
                  <a16:creationId xmlns:a16="http://schemas.microsoft.com/office/drawing/2014/main" id="{EA5B3BD4-4FF8-4DC8-AC0A-4A50992A27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1732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o be started</a:t>
              </a:r>
            </a:p>
          </p:txBody>
        </p:sp>
        <p:sp>
          <p:nvSpPr>
            <p:cNvPr id="38" name="Rectangle 11">
              <a:extLst>
                <a:ext uri="{FF2B5EF4-FFF2-40B4-BE49-F238E27FC236}">
                  <a16:creationId xmlns:a16="http://schemas.microsoft.com/office/drawing/2014/main" id="{081C1E56-98B5-4423-A969-51C26108D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06236" y="6455802"/>
              <a:ext cx="801863" cy="199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 Risk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Issues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Dependencie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AB8F457-13A4-4766-AF74-D4B429B3D1B9}"/>
                </a:ext>
              </a:extLst>
            </p:cNvPr>
            <p:cNvSpPr txBox="1"/>
            <p:nvPr/>
          </p:nvSpPr>
          <p:spPr>
            <a:xfrm>
              <a:off x="5056297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6899C93-A292-444B-A6B1-61B2851635B7}"/>
                </a:ext>
              </a:extLst>
            </p:cNvPr>
            <p:cNvSpPr txBox="1"/>
            <p:nvPr/>
          </p:nvSpPr>
          <p:spPr>
            <a:xfrm>
              <a:off x="586576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1" name="Rectangle 11">
              <a:extLst>
                <a:ext uri="{FF2B5EF4-FFF2-40B4-BE49-F238E27FC236}">
                  <a16:creationId xmlns:a16="http://schemas.microsoft.com/office/drawing/2014/main" id="{547BE698-D924-4347-AB67-5214BB4C45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2909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elayed / Slightly delayed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4C823C0-7B61-4471-B595-6000DD2D5EB5}"/>
                </a:ext>
              </a:extLst>
            </p:cNvPr>
            <p:cNvSpPr txBox="1"/>
            <p:nvPr/>
          </p:nvSpPr>
          <p:spPr>
            <a:xfrm>
              <a:off x="6865731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E5AB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E5AB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3" name="Rectangle 11">
              <a:extLst>
                <a:ext uri="{FF2B5EF4-FFF2-40B4-BE49-F238E27FC236}">
                  <a16:creationId xmlns:a16="http://schemas.microsoft.com/office/drawing/2014/main" id="{4145AFF9-1CE2-40F9-8858-38241F225A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8838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On time / Ahead of plan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2745AD2B-74D2-4DA1-9B95-2F7CB430F801}"/>
                </a:ext>
              </a:extLst>
            </p:cNvPr>
            <p:cNvSpPr txBox="1"/>
            <p:nvPr/>
          </p:nvSpPr>
          <p:spPr>
            <a:xfrm>
              <a:off x="8261938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62D7F36-705C-4EA5-A8EC-D932487FB1DB}"/>
                </a:ext>
              </a:extLst>
            </p:cNvPr>
            <p:cNvSpPr txBox="1"/>
            <p:nvPr/>
          </p:nvSpPr>
          <p:spPr>
            <a:xfrm>
              <a:off x="971910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BC3F6347-45E0-4269-9095-CF091C1066CD}"/>
              </a:ext>
            </a:extLst>
          </p:cNvPr>
          <p:cNvSpPr txBox="1"/>
          <p:nvPr/>
        </p:nvSpPr>
        <p:spPr>
          <a:xfrm>
            <a:off x="373500" y="99354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Cross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Definition</a:t>
            </a: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,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Implementation</a:t>
            </a: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 &amp;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Validation</a:t>
            </a:r>
            <a:endParaRPr lang="es-ES" sz="1600" b="1" i="0" u="none" strike="noStrike">
              <a:solidFill>
                <a:schemeClr val="accent1">
                  <a:lumMod val="75000"/>
                </a:schemeClr>
              </a:solidFill>
              <a:effectLst/>
              <a:latin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37208490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3652163"/>
              </p:ext>
            </p:extLst>
          </p:nvPr>
        </p:nvGraphicFramePr>
        <p:xfrm>
          <a:off x="373499" y="1332102"/>
          <a:ext cx="11392895" cy="4041991"/>
        </p:xfrm>
        <a:graphic>
          <a:graphicData uri="http://schemas.openxmlformats.org/drawingml/2006/table">
            <a:tbl>
              <a:tblPr/>
              <a:tblGrid>
                <a:gridCol w="1212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84788">
                  <a:extLst>
                    <a:ext uri="{9D8B030D-6E8A-4147-A177-3AD203B41FA5}">
                      <a16:colId xmlns:a16="http://schemas.microsoft.com/office/drawing/2014/main" val="384561633"/>
                    </a:ext>
                  </a:extLst>
                </a:gridCol>
                <a:gridCol w="3686175">
                  <a:extLst>
                    <a:ext uri="{9D8B030D-6E8A-4147-A177-3AD203B41FA5}">
                      <a16:colId xmlns:a16="http://schemas.microsoft.com/office/drawing/2014/main" val="921812100"/>
                    </a:ext>
                  </a:extLst>
                </a:gridCol>
                <a:gridCol w="570294">
                  <a:extLst>
                    <a:ext uri="{9D8B030D-6E8A-4147-A177-3AD203B41FA5}">
                      <a16:colId xmlns:a16="http://schemas.microsoft.com/office/drawing/2014/main" val="4089891530"/>
                    </a:ext>
                  </a:extLst>
                </a:gridCol>
                <a:gridCol w="982280">
                  <a:extLst>
                    <a:ext uri="{9D8B030D-6E8A-4147-A177-3AD203B41FA5}">
                      <a16:colId xmlns:a16="http://schemas.microsoft.com/office/drawing/2014/main" val="1542921772"/>
                    </a:ext>
                  </a:extLst>
                </a:gridCol>
                <a:gridCol w="1304925">
                  <a:extLst>
                    <a:ext uri="{9D8B030D-6E8A-4147-A177-3AD203B41FA5}">
                      <a16:colId xmlns:a16="http://schemas.microsoft.com/office/drawing/2014/main" val="1585417047"/>
                    </a:ext>
                  </a:extLst>
                </a:gridCol>
                <a:gridCol w="1374544">
                  <a:extLst>
                    <a:ext uri="{9D8B030D-6E8A-4147-A177-3AD203B41FA5}">
                      <a16:colId xmlns:a16="http://schemas.microsoft.com/office/drawing/2014/main" val="1856661771"/>
                    </a:ext>
                  </a:extLst>
                </a:gridCol>
                <a:gridCol w="1062841">
                  <a:extLst>
                    <a:ext uri="{9D8B030D-6E8A-4147-A177-3AD203B41FA5}">
                      <a16:colId xmlns:a16="http://schemas.microsoft.com/office/drawing/2014/main" val="890571747"/>
                    </a:ext>
                  </a:extLst>
                </a:gridCol>
                <a:gridCol w="714938">
                  <a:extLst>
                    <a:ext uri="{9D8B030D-6E8A-4147-A177-3AD203B41FA5}">
                      <a16:colId xmlns:a16="http://schemas.microsoft.com/office/drawing/2014/main" val="41579248"/>
                    </a:ext>
                  </a:extLst>
                </a:gridCol>
              </a:tblGrid>
              <a:tr h="392012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Línea de acció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Estad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Aspectos destac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Riesgos </a:t>
                      </a:r>
                      <a:endParaRPr lang="es-ES" sz="1100" b="1" i="0" u="none" strike="noStrike" noProof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Impact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Hitos afect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Próximos pas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Dueñ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Fecha límit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819693"/>
                  </a:ext>
                </a:extLst>
              </a:tr>
              <a:tr h="3326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1" i="0" u="none" strike="noStrike" err="1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 Light"/>
                        </a:rPr>
                        <a:t>Validation</a:t>
                      </a:r>
                      <a:endParaRPr lang="es-ES" sz="1100" b="1" i="0" u="none" strike="noStrike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ctr"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3399217"/>
                  </a:ext>
                </a:extLst>
              </a:tr>
              <a:tr h="3920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100" b="1" i="0" u="sng" strike="noStrike" kern="1200" noProof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IR Delt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  <a:sym typeface="Wingdings" panose="05000000000000000000" pitchFamily="2" charset="2"/>
                        </a:rPr>
                        <a:t></a:t>
                      </a:r>
                      <a:endParaRPr lang="es-ES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GB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 noProof="0">
                        <a:effectLst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. López Dehesa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J.D. San Miguel</a:t>
                      </a:r>
                      <a:endParaRPr 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s" sz="1000" b="0" i="0" u="none" strike="sng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30/05/2022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1" i="0" u="none" strike="noStrike" kern="1200" noProof="0">
                          <a:solidFill>
                            <a:schemeClr val="accent1"/>
                          </a:solidFill>
                          <a:effectLst/>
                          <a:latin typeface="Calibri"/>
                        </a:rPr>
                        <a:t>TBC</a:t>
                      </a:r>
                      <a:endParaRPr lang="es-ES" sz="1000" b="1" i="0" u="none" strike="noStrike" kern="1200" noProof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34361229"/>
                  </a:ext>
                </a:extLst>
              </a:tr>
              <a:tr h="8466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s-ES" sz="1100" b="1" i="0" u="sng" strike="noStrike" kern="1200" noProof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Bond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  <a:sym typeface="Wingdings" panose="05000000000000000000" pitchFamily="2" charset="2"/>
                        </a:rPr>
                        <a:t></a:t>
                      </a:r>
                      <a:endParaRPr lang="es-ES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PU y C</a:t>
                      </a: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oC (</a:t>
                      </a:r>
                      <a:r>
                        <a:rPr lang="en-US" sz="1000" b="1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stratégico</a:t>
                      </a: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)</a:t>
                      </a:r>
                      <a:r>
                        <a:rPr lang="es-E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:</a:t>
                      </a:r>
                      <a:endParaRPr lang="es-E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GB" sz="1000" b="1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LB y ALCO </a:t>
                      </a:r>
                      <a:r>
                        <a:rPr lang="en-GB" sz="1000" b="1" i="0" u="none" strike="noStrike" baseline="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stratética</a:t>
                      </a:r>
                      <a:r>
                        <a:rPr lang="en-GB" sz="1000" b="1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: </a:t>
                      </a:r>
                      <a:r>
                        <a:rPr lang="en-GB" sz="1000" b="0" i="0" u="none" strike="noStrike" baseline="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sión</a:t>
                      </a:r>
                      <a:r>
                        <a:rPr lang="en-GB" sz="10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GB" sz="1000" b="0" i="0" u="none" strike="noStrike" baseline="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gramada</a:t>
                      </a:r>
                      <a:r>
                        <a:rPr lang="en-GB" sz="10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con CC para </a:t>
                      </a:r>
                      <a:r>
                        <a:rPr lang="en-GB" sz="1000" b="0" i="0" u="none" strike="noStrike" baseline="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l</a:t>
                      </a:r>
                      <a:r>
                        <a:rPr lang="en-GB" sz="1000" b="0" i="0" u="none" strike="noStrike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03/10.</a:t>
                      </a:r>
                      <a:endParaRPr lang="en-GB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GB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MPU y CoC:</a:t>
                      </a:r>
                      <a:endParaRPr lang="en-GB"/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GB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hile:</a:t>
                      </a:r>
                      <a:r>
                        <a:rPr lang="en-GB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IV </a:t>
                      </a:r>
                      <a:r>
                        <a:rPr lang="en-GB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stá</a:t>
                      </a:r>
                      <a:r>
                        <a:rPr lang="en-GB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scribiendo</a:t>
                      </a:r>
                      <a:r>
                        <a:rPr lang="en-GB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l</a:t>
                      </a:r>
                      <a:r>
                        <a:rPr lang="en-GB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nforme</a:t>
                      </a:r>
                      <a:r>
                        <a:rPr lang="en-GB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de </a:t>
                      </a:r>
                      <a:r>
                        <a:rPr lang="en-GB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validación</a:t>
                      </a:r>
                      <a:r>
                        <a:rPr lang="en-GB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.</a:t>
                      </a:r>
                      <a:endParaRPr lang="en-GB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es-E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sngStrike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22/11/2021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i="0" u="none" strike="sngStrike" kern="1200" baseline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31/12/2021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i="0" u="none" strike="noStrike" kern="1200">
                          <a:solidFill>
                            <a:schemeClr val="accen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TBC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138944"/>
                  </a:ext>
                </a:extLst>
              </a:tr>
              <a:tr h="784023">
                <a:tc>
                  <a:txBody>
                    <a:bodyPr/>
                    <a:lstStyle/>
                    <a:p>
                      <a:pPr marL="0" marR="0" lvl="0" indent="0" algn="l" defTabSz="9144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ABS</a:t>
                      </a:r>
                      <a:endParaRPr lang="en-US"/>
                    </a:p>
                  </a:txBody>
                  <a:tcPr marL="45720" marR="45720" anchor="ctr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  <a:sym typeface="Wingdings" panose="05000000000000000000" pitchFamily="2" charset="2"/>
                        </a:rPr>
                        <a:t></a:t>
                      </a:r>
                      <a:endParaRPr lang="es-ES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s-E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mplementación estratégica MPU</a:t>
                      </a:r>
                      <a:r>
                        <a:rPr lang="es-ES_tradnl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:</a:t>
                      </a:r>
                      <a:endParaRPr lang="en-US"/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s-ES_tradnl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s-ES_tradnl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oadilla</a:t>
                      </a:r>
                      <a:r>
                        <a:rPr lang="es-ES_tradnl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: CC se ha cerrado y se ha enviado la versión final a LMO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. Queda </a:t>
                      </a:r>
                      <a:r>
                        <a:rPr lang="en-U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ndiente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cibir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la </a:t>
                      </a:r>
                      <a:r>
                        <a:rPr lang="en-U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fecha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objetivo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y las </a:t>
                      </a:r>
                      <a:r>
                        <a:rPr lang="en-US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comendaciones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. 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s-ES_tradnl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LB:</a:t>
                      </a:r>
                      <a:r>
                        <a:rPr lang="es-ES_tradnl" sz="1000" b="0" i="0" u="none" strike="noStrike" kern="1200" noProof="0">
                          <a:effectLst/>
                        </a:rPr>
                        <a:t> </a:t>
                      </a:r>
                      <a:r>
                        <a:rPr lang="es-ES_tradnl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LMO facilitará la documentación y evidencia para soportar el AVA MPU de cero.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buNone/>
                        <a:tabLst/>
                        <a:defRPr/>
                      </a:pPr>
                      <a:endParaRPr lang="es-E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>
                        <a:buNone/>
                        <a:tabLst/>
                        <a:defRPr/>
                      </a:pPr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just" defTabSz="914400"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s-ES" sz="10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s-ES" sz="1000" b="1" i="0" u="none" strike="noStrike" kern="1200">
                          <a:solidFill>
                            <a:schemeClr val="accen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TBC</a:t>
                      </a:r>
                      <a:endParaRPr lang="es-ES" sz="1000" b="0" i="0" u="none" strike="sngStrike" kern="1200" baseline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50300201"/>
                  </a:ext>
                </a:extLst>
              </a:tr>
              <a:tr h="486833">
                <a:tc>
                  <a:txBody>
                    <a:bodyPr/>
                    <a:lstStyle/>
                    <a:p>
                      <a:pPr marL="0" marR="0" lvl="0" indent="0" algn="l" defTabSz="9144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sng" strike="noStrike" kern="1200" noProof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EQ Vega</a:t>
                      </a:r>
                      <a:endParaRPr lang="en-US"/>
                    </a:p>
                  </a:txBody>
                  <a:tcPr marL="45720" marR="45720" anchor="ctr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  <a:sym typeface="Wingdings" panose="05000000000000000000" pitchFamily="2" charset="2"/>
                        </a:rPr>
                        <a:t></a:t>
                      </a:r>
                      <a:endParaRPr lang="es-ES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s-E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mplementación estratégica:</a:t>
                      </a: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Enviado el borrador a CC.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buNone/>
                        <a:tabLst/>
                        <a:defRPr/>
                      </a:pPr>
                      <a:endParaRPr lang="es-E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>
                        <a:buNone/>
                        <a:tabLst/>
                        <a:defRPr/>
                      </a:pPr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just" defTabSz="914400"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endParaRPr lang="es-E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es-ES_tradn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s-ES" sz="1000" b="1" i="0" u="none" strike="noStrike" kern="1200">
                          <a:solidFill>
                            <a:schemeClr val="accent1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TBC</a:t>
                      </a:r>
                      <a:endParaRPr lang="es-ES" sz="1000" b="0" i="0" u="none" strike="sngStrike" kern="1200" baseline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68595102"/>
                  </a:ext>
                </a:extLst>
              </a:tr>
              <a:tr h="27322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1" i="0" u="sng" strike="noStrike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FX Vega</a:t>
                      </a:r>
                      <a:endParaRPr lang="en-US"/>
                    </a:p>
                  </a:txBody>
                  <a:tcPr marL="45720" marR="45720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  <a:sym typeface="Wingdings" panose="05000000000000000000" pitchFamily="2" charset="2"/>
                        </a:rPr>
                        <a:t></a:t>
                      </a:r>
                    </a:p>
                  </a:txBody>
                  <a:tcPr marL="0" marR="0" marT="0" marB="0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s-ES_tradnl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mplementación estratégica</a:t>
                      </a:r>
                      <a:r>
                        <a:rPr lang="es-ES_tradnl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: IV mantuvo una reunión con el LMO para discutir los </a:t>
                      </a:r>
                      <a:r>
                        <a:rPr lang="es-ES_tradnl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findings</a:t>
                      </a:r>
                      <a:r>
                        <a:rPr lang="es-ES_tradnl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de IV y el tema relativo a las sensibilidades RR y FLY. IV no recibió una ejecución corregida, lo cual se ha tenido en cuenta.</a:t>
                      </a:r>
                    </a:p>
                  </a:txBody>
                  <a:tcPr marL="0" marR="0" marT="0" marB="0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buNone/>
                        <a:tabLst/>
                        <a:defRPr/>
                      </a:pPr>
                      <a:endParaRPr lang="es-E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>
                        <a:buNone/>
                        <a:tabLst/>
                        <a:defRPr/>
                      </a:pPr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just" defTabSz="914400"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None/>
                      </a:pPr>
                      <a:endParaRPr lang="es-E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s-ES" sz="1000" b="1" i="0" u="none" strike="noStrike" baseline="0">
                        <a:solidFill>
                          <a:schemeClr val="accent1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0">
                      <a:noFill/>
                    </a:lnL>
                    <a:lnR w="12700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4422838"/>
                  </a:ext>
                </a:extLst>
              </a:tr>
            </a:tbl>
          </a:graphicData>
        </a:graphic>
      </p:graphicFrame>
      <p:sp>
        <p:nvSpPr>
          <p:cNvPr id="31" name="Flecha abajo 30"/>
          <p:cNvSpPr/>
          <p:nvPr/>
        </p:nvSpPr>
        <p:spPr>
          <a:xfrm rot="16200000">
            <a:off x="10850394" y="-181510"/>
            <a:ext cx="188435" cy="11880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2" name="Text Box 10"/>
          <p:cNvSpPr txBox="1">
            <a:spLocks noChangeArrowheads="1"/>
          </p:cNvSpPr>
          <p:nvPr/>
        </p:nvSpPr>
        <p:spPr bwMode="auto">
          <a:xfrm>
            <a:off x="10052735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1</a:t>
            </a:r>
          </a:p>
        </p:txBody>
      </p:sp>
      <p:sp>
        <p:nvSpPr>
          <p:cNvPr id="33" name="Text Box 10"/>
          <p:cNvSpPr txBox="1">
            <a:spLocks noChangeArrowheads="1"/>
          </p:cNvSpPr>
          <p:nvPr/>
        </p:nvSpPr>
        <p:spPr bwMode="auto">
          <a:xfrm>
            <a:off x="10795673" y="233676"/>
            <a:ext cx="360000" cy="360000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2</a:t>
            </a:r>
            <a:endParaRPr lang="en-US"/>
          </a:p>
        </p:txBody>
      </p:sp>
      <p:sp>
        <p:nvSpPr>
          <p:cNvPr id="34" name="Text Box 10"/>
          <p:cNvSpPr txBox="1">
            <a:spLocks noChangeArrowheads="1"/>
          </p:cNvSpPr>
          <p:nvPr/>
        </p:nvSpPr>
        <p:spPr bwMode="auto">
          <a:xfrm>
            <a:off x="11538612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marL="0" marR="0" lvl="0" indent="0" algn="ctr" defTabSz="957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5" name="Rectangle 11"/>
          <p:cNvSpPr>
            <a:spLocks noChangeArrowheads="1"/>
          </p:cNvSpPr>
          <p:nvPr/>
        </p:nvSpPr>
        <p:spPr bwMode="auto">
          <a:xfrm>
            <a:off x="10111577" y="515588"/>
            <a:ext cx="1728192" cy="426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36000" tIns="45671" rIns="36000" bIns="45671" anchor="ctr"/>
          <a:lstStyle/>
          <a:p>
            <a:pPr algn="ctr" defTabSz="914377">
              <a:defRPr/>
            </a:pPr>
            <a:r>
              <a:rPr lang="es-ES" sz="1200" b="1" kern="0" cap="small">
                <a:solidFill>
                  <a:srgbClr val="FF0000"/>
                </a:solidFill>
                <a:latin typeface="Calibri"/>
                <a:cs typeface="Calibri"/>
              </a:rPr>
              <a:t>ESTADO A 29.09.2022</a:t>
            </a:r>
            <a:endParaRPr lang="es-ES" sz="1200" kern="0" cap="small">
              <a:ea typeface="+mn-lt"/>
              <a:cs typeface="+mn-lt"/>
            </a:endParaRPr>
          </a:p>
        </p:txBody>
      </p:sp>
      <p:sp>
        <p:nvSpPr>
          <p:cNvPr id="28" name="TituloSlide"/>
          <p:cNvSpPr txBox="1">
            <a:spLocks/>
          </p:cNvSpPr>
          <p:nvPr/>
        </p:nvSpPr>
        <p:spPr>
          <a:xfrm>
            <a:off x="669432" y="290771"/>
            <a:ext cx="10695254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sz="2800">
                <a:solidFill>
                  <a:srgbClr val="EB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 Risk Advanced Platform</a:t>
            </a:r>
            <a:endParaRPr lang="en-029" sz="2800">
              <a:solidFill>
                <a:srgbClr val="EB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sz="200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VAs AVAs Statu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4E81E2B-14D2-4B7E-9700-6675B1184BAC}"/>
              </a:ext>
            </a:extLst>
          </p:cNvPr>
          <p:cNvGrpSpPr/>
          <p:nvPr/>
        </p:nvGrpSpPr>
        <p:grpSpPr>
          <a:xfrm>
            <a:off x="5056297" y="6474002"/>
            <a:ext cx="6451802" cy="369332"/>
            <a:chOff x="5056297" y="6382562"/>
            <a:chExt cx="6451802" cy="369332"/>
          </a:xfrm>
        </p:grpSpPr>
        <p:sp>
          <p:nvSpPr>
            <p:cNvPr id="81" name="Rectangle 11"/>
            <p:cNvSpPr>
              <a:spLocks noChangeArrowheads="1"/>
            </p:cNvSpPr>
            <p:nvPr/>
          </p:nvSpPr>
          <p:spPr bwMode="auto">
            <a:xfrm>
              <a:off x="5318556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ompleted</a:t>
              </a:r>
            </a:p>
          </p:txBody>
        </p:sp>
        <p:sp>
          <p:nvSpPr>
            <p:cNvPr id="82" name="Rectangle 11"/>
            <p:cNvSpPr>
              <a:spLocks noChangeArrowheads="1"/>
            </p:cNvSpPr>
            <p:nvPr/>
          </p:nvSpPr>
          <p:spPr bwMode="auto">
            <a:xfrm>
              <a:off x="6148299" y="6454663"/>
              <a:ext cx="750152" cy="191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ery delayed 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≥ 30%)</a:t>
              </a:r>
            </a:p>
          </p:txBody>
        </p:sp>
        <p:sp>
          <p:nvSpPr>
            <p:cNvPr id="86" name="Rectangle 11"/>
            <p:cNvSpPr>
              <a:spLocks noChangeArrowheads="1"/>
            </p:cNvSpPr>
            <p:nvPr/>
          </p:nvSpPr>
          <p:spPr bwMode="auto">
            <a:xfrm>
              <a:off x="10031732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o be started</a:t>
              </a:r>
            </a:p>
          </p:txBody>
        </p:sp>
        <p:sp>
          <p:nvSpPr>
            <p:cNvPr id="87" name="Rectangle 11"/>
            <p:cNvSpPr>
              <a:spLocks noChangeArrowheads="1"/>
            </p:cNvSpPr>
            <p:nvPr/>
          </p:nvSpPr>
          <p:spPr bwMode="auto">
            <a:xfrm>
              <a:off x="10706236" y="6455802"/>
              <a:ext cx="801863" cy="199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 Risk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Issues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Dependencie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056D592-A6DE-48E6-B2B9-36A9E536F8AC}"/>
                </a:ext>
              </a:extLst>
            </p:cNvPr>
            <p:cNvSpPr txBox="1"/>
            <p:nvPr/>
          </p:nvSpPr>
          <p:spPr>
            <a:xfrm>
              <a:off x="5056297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BA4139F-DA44-41C2-9EE5-310A98522DF8}"/>
                </a:ext>
              </a:extLst>
            </p:cNvPr>
            <p:cNvSpPr txBox="1"/>
            <p:nvPr/>
          </p:nvSpPr>
          <p:spPr>
            <a:xfrm>
              <a:off x="586576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4" name="Rectangle 11">
              <a:extLst>
                <a:ext uri="{FF2B5EF4-FFF2-40B4-BE49-F238E27FC236}">
                  <a16:creationId xmlns:a16="http://schemas.microsoft.com/office/drawing/2014/main" id="{6D59FB73-C7D2-4821-8555-61982715F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2909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elayed / Slightly delayed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8062C07-6F2F-402D-9F8C-9CA1AF27001A}"/>
                </a:ext>
              </a:extLst>
            </p:cNvPr>
            <p:cNvSpPr txBox="1"/>
            <p:nvPr/>
          </p:nvSpPr>
          <p:spPr>
            <a:xfrm>
              <a:off x="6865731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E5AB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E5AB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6" name="Rectangle 11">
              <a:extLst>
                <a:ext uri="{FF2B5EF4-FFF2-40B4-BE49-F238E27FC236}">
                  <a16:creationId xmlns:a16="http://schemas.microsoft.com/office/drawing/2014/main" id="{E5CF967C-FBEE-4974-AFC1-2CBAEC5A6B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8838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On time / Ahead of plan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9EE7896-7666-4F18-9096-FC3B1CD093AA}"/>
                </a:ext>
              </a:extLst>
            </p:cNvPr>
            <p:cNvSpPr txBox="1"/>
            <p:nvPr/>
          </p:nvSpPr>
          <p:spPr>
            <a:xfrm>
              <a:off x="8261938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1BD0AD7-234C-4D79-849F-76E3D1D03F0F}"/>
                </a:ext>
              </a:extLst>
            </p:cNvPr>
            <p:cNvSpPr txBox="1"/>
            <p:nvPr/>
          </p:nvSpPr>
          <p:spPr>
            <a:xfrm>
              <a:off x="971910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CAB78A73-B165-43F6-911A-668E13FEAAA3}"/>
              </a:ext>
            </a:extLst>
          </p:cNvPr>
          <p:cNvSpPr txBox="1"/>
          <p:nvPr/>
        </p:nvSpPr>
        <p:spPr>
          <a:xfrm>
            <a:off x="373500" y="99354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Cross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Definition</a:t>
            </a: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,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Implementation</a:t>
            </a: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 &amp;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Validation</a:t>
            </a:r>
            <a:endParaRPr lang="es-ES" sz="1600" b="1" i="0" u="none" strike="noStrike">
              <a:solidFill>
                <a:schemeClr val="accent1">
                  <a:lumMod val="75000"/>
                </a:schemeClr>
              </a:solidFill>
              <a:effectLst/>
              <a:latin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2509309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9808687"/>
              </p:ext>
            </p:extLst>
          </p:nvPr>
        </p:nvGraphicFramePr>
        <p:xfrm>
          <a:off x="373499" y="1332102"/>
          <a:ext cx="11392895" cy="2468880"/>
        </p:xfrm>
        <a:graphic>
          <a:graphicData uri="http://schemas.openxmlformats.org/drawingml/2006/table">
            <a:tbl>
              <a:tblPr/>
              <a:tblGrid>
                <a:gridCol w="1212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84788">
                  <a:extLst>
                    <a:ext uri="{9D8B030D-6E8A-4147-A177-3AD203B41FA5}">
                      <a16:colId xmlns:a16="http://schemas.microsoft.com/office/drawing/2014/main" val="384561633"/>
                    </a:ext>
                  </a:extLst>
                </a:gridCol>
                <a:gridCol w="3686175">
                  <a:extLst>
                    <a:ext uri="{9D8B030D-6E8A-4147-A177-3AD203B41FA5}">
                      <a16:colId xmlns:a16="http://schemas.microsoft.com/office/drawing/2014/main" val="921812100"/>
                    </a:ext>
                  </a:extLst>
                </a:gridCol>
                <a:gridCol w="570294">
                  <a:extLst>
                    <a:ext uri="{9D8B030D-6E8A-4147-A177-3AD203B41FA5}">
                      <a16:colId xmlns:a16="http://schemas.microsoft.com/office/drawing/2014/main" val="4089891530"/>
                    </a:ext>
                  </a:extLst>
                </a:gridCol>
                <a:gridCol w="982280">
                  <a:extLst>
                    <a:ext uri="{9D8B030D-6E8A-4147-A177-3AD203B41FA5}">
                      <a16:colId xmlns:a16="http://schemas.microsoft.com/office/drawing/2014/main" val="1542921772"/>
                    </a:ext>
                  </a:extLst>
                </a:gridCol>
                <a:gridCol w="1304925">
                  <a:extLst>
                    <a:ext uri="{9D8B030D-6E8A-4147-A177-3AD203B41FA5}">
                      <a16:colId xmlns:a16="http://schemas.microsoft.com/office/drawing/2014/main" val="1585417047"/>
                    </a:ext>
                  </a:extLst>
                </a:gridCol>
                <a:gridCol w="1374544">
                  <a:extLst>
                    <a:ext uri="{9D8B030D-6E8A-4147-A177-3AD203B41FA5}">
                      <a16:colId xmlns:a16="http://schemas.microsoft.com/office/drawing/2014/main" val="1856661771"/>
                    </a:ext>
                  </a:extLst>
                </a:gridCol>
                <a:gridCol w="1062841">
                  <a:extLst>
                    <a:ext uri="{9D8B030D-6E8A-4147-A177-3AD203B41FA5}">
                      <a16:colId xmlns:a16="http://schemas.microsoft.com/office/drawing/2014/main" val="890571747"/>
                    </a:ext>
                  </a:extLst>
                </a:gridCol>
                <a:gridCol w="714938">
                  <a:extLst>
                    <a:ext uri="{9D8B030D-6E8A-4147-A177-3AD203B41FA5}">
                      <a16:colId xmlns:a16="http://schemas.microsoft.com/office/drawing/2014/main" val="41579248"/>
                    </a:ext>
                  </a:extLst>
                </a:gridCol>
              </a:tblGrid>
              <a:tr h="392012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Línea de acció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Estad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Aspectos destac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Riesgos </a:t>
                      </a:r>
                      <a:endParaRPr lang="es-ES" sz="1100" b="1" i="0" u="none" strike="noStrike" noProof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Impact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Hitos afectad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Próximos paso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Dueñ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1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/>
                          <a:cs typeface="Calibri"/>
                        </a:rPr>
                        <a:t>Fecha límit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76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819693"/>
                  </a:ext>
                </a:extLst>
              </a:tr>
              <a:tr h="3326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1" i="0" u="none" strike="noStrike" err="1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Calibri Light"/>
                        </a:rPr>
                        <a:t>Validation</a:t>
                      </a:r>
                      <a:endParaRPr lang="es-ES" sz="1100" b="1" i="0" u="none" strike="noStrike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 Ligh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  <a:sym typeface="Wingdings" panose="05000000000000000000" pitchFamily="2" charset="2"/>
                        </a:rPr>
                        <a:t></a:t>
                      </a:r>
                      <a:endParaRPr kumimoji="0" lang="es-E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ctr"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000" b="0" i="0" u="none" strike="noStrike" kern="120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3399217"/>
                  </a:ext>
                </a:extLst>
              </a:tr>
              <a:tr h="1437380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i="0" u="sng" strike="noStrike">
                          <a:solidFill>
                            <a:schemeClr val="tx1"/>
                          </a:solidFill>
                          <a:effectLst/>
                          <a:latin typeface="Calibri"/>
                          <a:cs typeface="Calibri"/>
                        </a:rPr>
                        <a:t>CP Bonds</a:t>
                      </a:r>
                      <a:endParaRPr lang="en-US"/>
                    </a:p>
                  </a:txBody>
                  <a:tcPr marL="45720" marR="45720" anchor="ctr">
                    <a:lnL w="12700">
                      <a:solidFill>
                        <a:schemeClr val="bg1"/>
                      </a:solidFill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92D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Calibri"/>
                          <a:sym typeface="Wingdings" panose="05000000000000000000" pitchFamily="2" charset="2"/>
                        </a:rPr>
                        <a:t></a:t>
                      </a:r>
                      <a:endParaRPr lang="es-ES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92D05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s-E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mplementación estratégica CP Bonos</a:t>
                      </a: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: IV está finalizando el informe de validación y un borrador será compartido con el LMO en los próximos días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s-ES_tradnl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mplementación estratégica CP Bonos (ALCO ES)</a:t>
                      </a:r>
                      <a:r>
                        <a:rPr lang="es-ES_tradnl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: IV detectó un error en el rating a utilizar del proxy. Aunque no afecta al dato del AVA para el ALCO, las </a:t>
                      </a:r>
                      <a:r>
                        <a:rPr lang="es-ES_tradnl" sz="1000" b="0" i="0" u="none" strike="noStrike" kern="120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UATs</a:t>
                      </a:r>
                      <a:r>
                        <a:rPr lang="es-ES_tradnl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para solucionar este problema están todavía pendientes. De forma similar, la evidencia para soportar el porcentaje de acceso de mercado está pendiente.</a:t>
                      </a:r>
                      <a:endParaRPr lang="es-ES_tradnl"/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s-E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mplementación estratégica CP ABS</a:t>
                      </a:r>
                      <a:r>
                        <a:rPr lang="es-E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: IV está finalizando el informe de validación y un borrador para ser compartido con el LMO en los próximos días.</a:t>
                      </a: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>
                        <a:buNone/>
                        <a:tabLst/>
                        <a:defRPr/>
                      </a:pPr>
                      <a:endParaRPr lang="es-E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>
                        <a:buNone/>
                        <a:tabLst/>
                        <a:defRPr/>
                      </a:pPr>
                      <a:endParaRPr lang="es-E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algn="just" defTabSz="914400"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s-ES" sz="1000" b="0" i="0" u="none" strike="noStrike" baseline="0">
                        <a:solidFill>
                          <a:schemeClr val="tx1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es-E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. López Dehesa</a:t>
                      </a:r>
                      <a:endParaRPr lang="en-US" sz="1000" b="0" i="0" u="none" strike="noStrike" kern="1200" noProof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E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J.D. San Migue</a:t>
                      </a:r>
                      <a:r>
                        <a:rPr lang="es-ES" sz="1800" b="0" i="0" u="none" strike="noStrike" noProof="0">
                          <a:solidFill>
                            <a:schemeClr val="tx1"/>
                          </a:solidFill>
                          <a:latin typeface="Calibri"/>
                        </a:rPr>
                        <a:t>l</a:t>
                      </a:r>
                      <a:endParaRPr lang="en-US" sz="1800" b="0" i="0" u="none" strike="noStrike" noProof="0">
                        <a:latin typeface="Arial"/>
                      </a:endParaRPr>
                    </a:p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800" b="0" i="0" u="none" strike="noStrike" noProof="0">
                        <a:latin typeface="Arial"/>
                      </a:endParaRPr>
                    </a:p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/>
                    </a:p>
                  </a:txBody>
                  <a:tcPr marL="0" marR="0" marT="0" marB="0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ES" sz="1000" b="1" i="0" u="none" strike="noStrike" baseline="0">
                          <a:solidFill>
                            <a:schemeClr val="accent1"/>
                          </a:solidFill>
                          <a:effectLst/>
                          <a:latin typeface="Calibri"/>
                          <a:cs typeface="Calibri"/>
                        </a:rPr>
                        <a:t>TBC</a:t>
                      </a:r>
                      <a:endParaRPr lang="en-US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bg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9267292"/>
                  </a:ext>
                </a:extLst>
              </a:tr>
            </a:tbl>
          </a:graphicData>
        </a:graphic>
      </p:graphicFrame>
      <p:sp>
        <p:nvSpPr>
          <p:cNvPr id="31" name="Flecha abajo 30"/>
          <p:cNvSpPr/>
          <p:nvPr/>
        </p:nvSpPr>
        <p:spPr>
          <a:xfrm rot="16200000">
            <a:off x="10850394" y="-181510"/>
            <a:ext cx="188435" cy="11880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2" name="Text Box 10"/>
          <p:cNvSpPr txBox="1">
            <a:spLocks noChangeArrowheads="1"/>
          </p:cNvSpPr>
          <p:nvPr/>
        </p:nvSpPr>
        <p:spPr bwMode="auto">
          <a:xfrm>
            <a:off x="10052735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1</a:t>
            </a:r>
          </a:p>
        </p:txBody>
      </p:sp>
      <p:sp>
        <p:nvSpPr>
          <p:cNvPr id="33" name="Text Box 10"/>
          <p:cNvSpPr txBox="1">
            <a:spLocks noChangeArrowheads="1"/>
          </p:cNvSpPr>
          <p:nvPr/>
        </p:nvSpPr>
        <p:spPr bwMode="auto">
          <a:xfrm>
            <a:off x="10795673" y="233676"/>
            <a:ext cx="360000" cy="360000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>
            <a:defPPr>
              <a:defRPr lang="es-ES"/>
            </a:defPPr>
            <a:lvl1pPr marR="0" lvl="0" indent="0" algn="ctr" defTabSz="95726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2</a:t>
            </a:r>
            <a:endParaRPr lang="en-US"/>
          </a:p>
        </p:txBody>
      </p:sp>
      <p:sp>
        <p:nvSpPr>
          <p:cNvPr id="34" name="Text Box 10"/>
          <p:cNvSpPr txBox="1">
            <a:spLocks noChangeArrowheads="1"/>
          </p:cNvSpPr>
          <p:nvPr/>
        </p:nvSpPr>
        <p:spPr bwMode="auto">
          <a:xfrm>
            <a:off x="11538612" y="233676"/>
            <a:ext cx="360000" cy="360000"/>
          </a:xfrm>
          <a:prstGeom prst="rect">
            <a:avLst/>
          </a:prstGeom>
          <a:solidFill>
            <a:srgbClr val="FF0000">
              <a:alpha val="22000"/>
            </a:srgbClr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marL="0" marR="0" lvl="0" indent="0" algn="ctr" defTabSz="957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5" name="Rectangle 11"/>
          <p:cNvSpPr>
            <a:spLocks noChangeArrowheads="1"/>
          </p:cNvSpPr>
          <p:nvPr/>
        </p:nvSpPr>
        <p:spPr bwMode="auto">
          <a:xfrm>
            <a:off x="10111577" y="515588"/>
            <a:ext cx="1728192" cy="426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36000" tIns="45671" rIns="36000" bIns="45671" anchor="ctr"/>
          <a:lstStyle/>
          <a:p>
            <a:pPr algn="ctr" defTabSz="914377">
              <a:defRPr/>
            </a:pPr>
            <a:r>
              <a:rPr lang="es-ES" sz="1200" b="1" kern="0" cap="small">
                <a:solidFill>
                  <a:srgbClr val="FF0000"/>
                </a:solidFill>
                <a:latin typeface="Calibri"/>
                <a:cs typeface="Calibri"/>
              </a:rPr>
              <a:t>ESTADO A 29.09.2022</a:t>
            </a:r>
            <a:endParaRPr lang="es-ES" sz="1200" kern="0" cap="small">
              <a:ea typeface="+mn-lt"/>
              <a:cs typeface="+mn-lt"/>
            </a:endParaRPr>
          </a:p>
        </p:txBody>
      </p:sp>
      <p:sp>
        <p:nvSpPr>
          <p:cNvPr id="28" name="TituloSlide"/>
          <p:cNvSpPr txBox="1">
            <a:spLocks/>
          </p:cNvSpPr>
          <p:nvPr/>
        </p:nvSpPr>
        <p:spPr>
          <a:xfrm>
            <a:off x="669432" y="290771"/>
            <a:ext cx="10695254" cy="39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sz="2800">
                <a:solidFill>
                  <a:srgbClr val="EB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 Risk Advanced Platform</a:t>
            </a:r>
            <a:endParaRPr lang="en-029" sz="2800">
              <a:solidFill>
                <a:srgbClr val="EB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sz="200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VAs AVAs Statu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4E81E2B-14D2-4B7E-9700-6675B1184BAC}"/>
              </a:ext>
            </a:extLst>
          </p:cNvPr>
          <p:cNvGrpSpPr/>
          <p:nvPr/>
        </p:nvGrpSpPr>
        <p:grpSpPr>
          <a:xfrm>
            <a:off x="5056297" y="6474002"/>
            <a:ext cx="6451802" cy="369332"/>
            <a:chOff x="5056297" y="6382562"/>
            <a:chExt cx="6451802" cy="369332"/>
          </a:xfrm>
        </p:grpSpPr>
        <p:sp>
          <p:nvSpPr>
            <p:cNvPr id="81" name="Rectangle 11"/>
            <p:cNvSpPr>
              <a:spLocks noChangeArrowheads="1"/>
            </p:cNvSpPr>
            <p:nvPr/>
          </p:nvSpPr>
          <p:spPr bwMode="auto">
            <a:xfrm>
              <a:off x="5318556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ompleted</a:t>
              </a:r>
            </a:p>
          </p:txBody>
        </p:sp>
        <p:sp>
          <p:nvSpPr>
            <p:cNvPr id="82" name="Rectangle 11"/>
            <p:cNvSpPr>
              <a:spLocks noChangeArrowheads="1"/>
            </p:cNvSpPr>
            <p:nvPr/>
          </p:nvSpPr>
          <p:spPr bwMode="auto">
            <a:xfrm>
              <a:off x="6148299" y="6454663"/>
              <a:ext cx="750152" cy="191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ery delayed 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≥ 30%)</a:t>
              </a:r>
            </a:p>
          </p:txBody>
        </p:sp>
        <p:sp>
          <p:nvSpPr>
            <p:cNvPr id="86" name="Rectangle 11"/>
            <p:cNvSpPr>
              <a:spLocks noChangeArrowheads="1"/>
            </p:cNvSpPr>
            <p:nvPr/>
          </p:nvSpPr>
          <p:spPr bwMode="auto">
            <a:xfrm>
              <a:off x="10031732" y="6449583"/>
              <a:ext cx="700261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o be started</a:t>
              </a:r>
            </a:p>
          </p:txBody>
        </p:sp>
        <p:sp>
          <p:nvSpPr>
            <p:cNvPr id="87" name="Rectangle 11"/>
            <p:cNvSpPr>
              <a:spLocks noChangeArrowheads="1"/>
            </p:cNvSpPr>
            <p:nvPr/>
          </p:nvSpPr>
          <p:spPr bwMode="auto">
            <a:xfrm>
              <a:off x="10706236" y="6455802"/>
              <a:ext cx="801863" cy="199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 Risk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Issues; </a:t>
              </a: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:Dependencie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056D592-A6DE-48E6-B2B9-36A9E536F8AC}"/>
                </a:ext>
              </a:extLst>
            </p:cNvPr>
            <p:cNvSpPr txBox="1"/>
            <p:nvPr/>
          </p:nvSpPr>
          <p:spPr>
            <a:xfrm>
              <a:off x="5056297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BA4139F-DA44-41C2-9EE5-310A98522DF8}"/>
                </a:ext>
              </a:extLst>
            </p:cNvPr>
            <p:cNvSpPr txBox="1"/>
            <p:nvPr/>
          </p:nvSpPr>
          <p:spPr>
            <a:xfrm>
              <a:off x="586576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4" name="Rectangle 11">
              <a:extLst>
                <a:ext uri="{FF2B5EF4-FFF2-40B4-BE49-F238E27FC236}">
                  <a16:creationId xmlns:a16="http://schemas.microsoft.com/office/drawing/2014/main" id="{6D59FB73-C7D2-4821-8555-61982715F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2909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elayed / Slightly delayed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8062C07-6F2F-402D-9F8C-9CA1AF27001A}"/>
                </a:ext>
              </a:extLst>
            </p:cNvPr>
            <p:cNvSpPr txBox="1"/>
            <p:nvPr/>
          </p:nvSpPr>
          <p:spPr>
            <a:xfrm>
              <a:off x="6865731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E5AB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E5AB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6" name="Rectangle 11">
              <a:extLst>
                <a:ext uri="{FF2B5EF4-FFF2-40B4-BE49-F238E27FC236}">
                  <a16:creationId xmlns:a16="http://schemas.microsoft.com/office/drawing/2014/main" id="{E5CF967C-FBEE-4974-AFC1-2CBAEC5A6B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8838" y="6449583"/>
              <a:ext cx="1199452" cy="202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6000" tIns="45671" rIns="36000" bIns="45671" anchor="ctr"/>
            <a:lstStyle/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On time / Ahead of plan</a:t>
              </a:r>
            </a:p>
            <a:p>
              <a:pPr marL="0" marR="0" lvl="0" indent="0" algn="l" defTabSz="914377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delay 10% - 30%)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9EE7896-7666-4F18-9096-FC3B1CD093AA}"/>
                </a:ext>
              </a:extLst>
            </p:cNvPr>
            <p:cNvSpPr txBox="1"/>
            <p:nvPr/>
          </p:nvSpPr>
          <p:spPr>
            <a:xfrm>
              <a:off x="8261938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1BD0AD7-234C-4D79-849F-76E3D1D03F0F}"/>
                </a:ext>
              </a:extLst>
            </p:cNvPr>
            <p:cNvSpPr txBox="1"/>
            <p:nvPr/>
          </p:nvSpPr>
          <p:spPr>
            <a:xfrm>
              <a:off x="9719104" y="6382562"/>
              <a:ext cx="32321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Wingdings" panose="05000000000000000000" pitchFamily="2" charset="2"/>
                </a:rPr>
                <a:t></a:t>
              </a: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CAB78A73-B165-43F6-911A-668E13FEAAA3}"/>
              </a:ext>
            </a:extLst>
          </p:cNvPr>
          <p:cNvSpPr txBox="1"/>
          <p:nvPr/>
        </p:nvSpPr>
        <p:spPr>
          <a:xfrm>
            <a:off x="373500" y="99354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Cross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Definition</a:t>
            </a: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,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Implementation</a:t>
            </a:r>
            <a:r>
              <a:rPr lang="es-ES" sz="1600" b="1" i="0" u="none" strike="noStrike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 &amp; </a:t>
            </a:r>
            <a:r>
              <a:rPr lang="es-ES" sz="1600" b="1" i="0" u="none" strike="noStrike" err="1">
                <a:solidFill>
                  <a:schemeClr val="accent1">
                    <a:lumMod val="75000"/>
                  </a:schemeClr>
                </a:solidFill>
                <a:effectLst/>
                <a:latin typeface="Calibri Light"/>
              </a:rPr>
              <a:t>Validation</a:t>
            </a:r>
            <a:endParaRPr lang="es-ES" sz="1600" b="1" i="0" u="none" strike="noStrike">
              <a:solidFill>
                <a:schemeClr val="accent1">
                  <a:lumMod val="75000"/>
                </a:schemeClr>
              </a:solidFill>
              <a:effectLst/>
              <a:latin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36566311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y.Yka24d8uJW760mFp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Gtq5Ff0MCwRPezLvHr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gD0WuElXpSXGkkFcyY4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Personalizado 3">
      <a:dk1>
        <a:sysClr val="windowText" lastClr="000000"/>
      </a:dk1>
      <a:lt1>
        <a:sysClr val="window" lastClr="FFFFFF"/>
      </a:lt1>
      <a:dk2>
        <a:srgbClr val="6E7678"/>
      </a:dk2>
      <a:lt2>
        <a:srgbClr val="E7E6E6"/>
      </a:lt2>
      <a:accent1>
        <a:srgbClr val="EB0000"/>
      </a:accent1>
      <a:accent2>
        <a:srgbClr val="DEEDF1"/>
      </a:accent2>
      <a:accent3>
        <a:srgbClr val="9D3566"/>
      </a:accent3>
      <a:accent4>
        <a:srgbClr val="62B967"/>
      </a:accent4>
      <a:accent5>
        <a:srgbClr val="1AB2BB"/>
      </a:accent5>
      <a:accent6>
        <a:srgbClr val="FFCB32"/>
      </a:accent6>
      <a:hlink>
        <a:srgbClr val="3265FF"/>
      </a:hlink>
      <a:folHlink>
        <a:srgbClr val="954F72"/>
      </a:folHlink>
    </a:clrScheme>
    <a:fontScheme name="Personalizado 6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1E8BEB300CF74DA5FA5CEBC078AD34" ma:contentTypeVersion="15" ma:contentTypeDescription="Create a new document." ma:contentTypeScope="" ma:versionID="fc2923b83e8ee3de0d012a3fa111b5fe">
  <xsd:schema xmlns:xsd="http://www.w3.org/2001/XMLSchema" xmlns:xs="http://www.w3.org/2001/XMLSchema" xmlns:p="http://schemas.microsoft.com/office/2006/metadata/properties" xmlns:ns1="http://schemas.microsoft.com/sharepoint/v3" xmlns:ns2="9ebc7e59-b2d8-434d-9162-1648cd3ab314" xmlns:ns3="ebc14086-998a-4c25-80b5-be86324b8494" targetNamespace="http://schemas.microsoft.com/office/2006/metadata/properties" ma:root="true" ma:fieldsID="b6cebbeba0572f0e1dc73b3368f40ce0" ns1:_="" ns2:_="" ns3:_="">
    <xsd:import namespace="http://schemas.microsoft.com/sharepoint/v3"/>
    <xsd:import namespace="9ebc7e59-b2d8-434d-9162-1648cd3ab314"/>
    <xsd:import namespace="ebc14086-998a-4c25-80b5-be86324b84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1:_ip_UnifiedCompliancePolicyProperties" minOccurs="0"/>
                <xsd:element ref="ns1:_ip_UnifiedCompliancePolicyUIAc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bc7e59-b2d8-434d-9162-1648cd3ab3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e471ada5-31db-43fa-8830-84ca9293ff4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c14086-998a-4c25-80b5-be86324b849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66cf170f-b44a-4164-824e-eb5050e92e3a}" ma:internalName="TaxCatchAll" ma:showField="CatchAllData" ma:web="ebc14086-998a-4c25-80b5-be86324b84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9ebc7e59-b2d8-434d-9162-1648cd3ab314">
      <Terms xmlns="http://schemas.microsoft.com/office/infopath/2007/PartnerControls"/>
    </lcf76f155ced4ddcb4097134ff3c332f>
    <TaxCatchAll xmlns="ebc14086-998a-4c25-80b5-be86324b8494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D0FF0D29-974D-4A20-8F63-FE11D16E84B8}">
  <ds:schemaRefs>
    <ds:schemaRef ds:uri="9ebc7e59-b2d8-434d-9162-1648cd3ab314"/>
    <ds:schemaRef ds:uri="ebc14086-998a-4c25-80b5-be86324b849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B05EF62-EE9A-40E6-9854-30F789C6A4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370CF8-8CC3-4A56-9610-E7B08C1F933D}">
  <ds:schemaRefs>
    <ds:schemaRef ds:uri="9ebc7e59-b2d8-434d-9162-1648cd3ab314"/>
    <ds:schemaRef ds:uri="b3c858cd-d46f-4fc7-a10a-828f16ef12b3"/>
    <ds:schemaRef ds:uri="dac61d59-a98f-4b93-95bb-16afbbdadf6c"/>
    <ds:schemaRef ds:uri="ebc14086-998a-4c25-80b5-be86324b849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7</Slides>
  <Notes>9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8" baseType="lpstr">
      <vt:lpstr>Tema de Office</vt:lpstr>
      <vt:lpstr>PROYECTO AVAs-FVAs  Seguimiento (29/09/2022)</vt:lpstr>
      <vt:lpstr>ÍNDICE</vt:lpstr>
      <vt:lpstr>Cronograma</vt:lpstr>
      <vt:lpstr>PowerPoint Presentation</vt:lpstr>
      <vt:lpstr>Estado de situació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Power Point SANTANDER</dc:title>
  <dc:creator>Presentalia (info@presentalia.com)</dc:creator>
  <cp:revision>1</cp:revision>
  <dcterms:created xsi:type="dcterms:W3CDTF">2018-03-19T11:10:43Z</dcterms:created>
  <dcterms:modified xsi:type="dcterms:W3CDTF">2022-09-29T08:1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iteId">
    <vt:lpwstr>36da45f1-dd2c-4d1f-af13-5abe46b99921</vt:lpwstr>
  </property>
  <property fmtid="{D5CDD505-2E9C-101B-9397-08002B2CF9AE}" pid="4" name="MSIP_Label_ea60d57e-af5b-4752-ac57-3e4f28ca11dc_SetDate">
    <vt:lpwstr>2021-03-23T14:16:54Z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ActionId">
    <vt:lpwstr>21a03bd5-ddc8-4cf8-9722-5ebdf3fc0ed2</vt:lpwstr>
  </property>
  <property fmtid="{D5CDD505-2E9C-101B-9397-08002B2CF9AE}" pid="7" name="MSIP_Label_ea60d57e-af5b-4752-ac57-3e4f28ca11dc_Extended_MSFT_Method">
    <vt:lpwstr>Automatic</vt:lpwstr>
  </property>
  <property fmtid="{D5CDD505-2E9C-101B-9397-08002B2CF9AE}" pid="8" name="MSIP_Label_0c2abd79-57a9-4473-8700-c843f76a1e37_Enabled">
    <vt:lpwstr>true</vt:lpwstr>
  </property>
  <property fmtid="{D5CDD505-2E9C-101B-9397-08002B2CF9AE}" pid="9" name="MSIP_Label_0c2abd79-57a9-4473-8700-c843f76a1e37_SetDate">
    <vt:lpwstr>2021-10-27T18:56:08Z</vt:lpwstr>
  </property>
  <property fmtid="{D5CDD505-2E9C-101B-9397-08002B2CF9AE}" pid="10" name="MSIP_Label_0c2abd79-57a9-4473-8700-c843f76a1e37_Method">
    <vt:lpwstr>Privileged</vt:lpwstr>
  </property>
  <property fmtid="{D5CDD505-2E9C-101B-9397-08002B2CF9AE}" pid="11" name="MSIP_Label_0c2abd79-57a9-4473-8700-c843f76a1e37_Name">
    <vt:lpwstr>Internal</vt:lpwstr>
  </property>
  <property fmtid="{D5CDD505-2E9C-101B-9397-08002B2CF9AE}" pid="12" name="MSIP_Label_0c2abd79-57a9-4473-8700-c843f76a1e37_SiteId">
    <vt:lpwstr>35595a02-4d6d-44ac-99e1-f9ab4cd872db</vt:lpwstr>
  </property>
  <property fmtid="{D5CDD505-2E9C-101B-9397-08002B2CF9AE}" pid="13" name="MSIP_Label_0c2abd79-57a9-4473-8700-c843f76a1e37_ActionId">
    <vt:lpwstr>7ab53a95-3851-4290-97ec-d21db06c9f7e</vt:lpwstr>
  </property>
  <property fmtid="{D5CDD505-2E9C-101B-9397-08002B2CF9AE}" pid="14" name="MSIP_Label_0c2abd79-57a9-4473-8700-c843f76a1e37_ContentBits">
    <vt:lpwstr>0</vt:lpwstr>
  </property>
  <property fmtid="{D5CDD505-2E9C-101B-9397-08002B2CF9AE}" pid="15" name="ContentTypeId">
    <vt:lpwstr>0x010100BD1E8BEB300CF74DA5FA5CEBC078AD34</vt:lpwstr>
  </property>
  <property fmtid="{D5CDD505-2E9C-101B-9397-08002B2CF9AE}" pid="16" name="MediaServiceImageTags">
    <vt:lpwstr/>
  </property>
</Properties>
</file>